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Layouts/slideLayout87.xml" ContentType="application/vnd.openxmlformats-officedocument.presentationml.slideLayout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76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65.xml" ContentType="application/vnd.openxmlformats-officedocument.presentationml.slideLayout+xml"/>
  <Override PartName="/ppt/tags/tag246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slideLayouts/slideLayout59.xml" ContentType="application/vnd.openxmlformats-officedocument.presentationml.slideLayout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slideLayouts/slideLayout48.xml" ContentType="application/vnd.openxmlformats-officedocument.presentationml.slideLayout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Layouts/slideLayout89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Layouts/slideLayout78.xml" ContentType="application/vnd.openxmlformats-officedocument.presentationml.slideLayout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Layouts/slideLayout67.xml" ContentType="application/vnd.openxmlformats-officedocument.presentationml.slideLayout+xml"/>
  <Override PartName="/ppt/tags/tag150.xml" ContentType="application/vnd.openxmlformats-officedocument.presentationml.tags+xml"/>
  <Override PartName="/ppt/theme/theme4.xml" ContentType="application/vnd.openxmlformats-officedocument.theme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23.xml" ContentType="application/vnd.openxmlformats-officedocument.presentationml.slideLayout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slideLayouts/slideLayout70.xml" ContentType="application/vnd.openxmlformats-officedocument.presentationml.slideLayout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53.xml" ContentType="application/vnd.openxmlformats-officedocument.presentationml.slideLayout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6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72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slideLayouts/slideLayout88.xml" ContentType="application/vnd.openxmlformats-officedocument.presentationml.slideLayout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slideLayouts/slideLayout44.xml" ContentType="application/vnd.openxmlformats-officedocument.presentationml.slideLayout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74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slideMasters/slideMaster3.xml" ContentType="application/vnd.openxmlformats-officedocument.presentationml.slideMaster+xml"/>
  <Override PartName="/ppt/tags/tag104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  <p:sldMasterId id="2147493770" r:id="rId2"/>
    <p:sldMasterId id="2147495719" r:id="rId3"/>
    <p:sldMasterId id="2147495767" r:id="rId4"/>
  </p:sldMasterIdLst>
  <p:notesMasterIdLst>
    <p:notesMasterId r:id="rId14"/>
  </p:notesMasterIdLst>
  <p:sldIdLst>
    <p:sldId id="2386" r:id="rId5"/>
    <p:sldId id="2537" r:id="rId6"/>
    <p:sldId id="2577" r:id="rId7"/>
    <p:sldId id="2592" r:id="rId8"/>
    <p:sldId id="2593" r:id="rId9"/>
    <p:sldId id="2586" r:id="rId10"/>
    <p:sldId id="2591" r:id="rId11"/>
    <p:sldId id="2587" r:id="rId12"/>
    <p:sldId id="2588" r:id="rId13"/>
  </p:sldIdLst>
  <p:sldSz cx="12801600" cy="9601200" type="A3"/>
  <p:notesSz cx="6797675" cy="9928225"/>
  <p:custDataLst>
    <p:tags r:id="rId15"/>
  </p:custDataLst>
  <p:defaultTextStyle>
    <a:defPPr>
      <a:defRPr lang="en-US"/>
    </a:defPPr>
    <a:lvl1pPr algn="l" defTabSz="4540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4025" indent="1588" algn="l" defTabSz="4540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1225" indent="1588" algn="l" defTabSz="4540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68425" indent="1588" algn="l" defTabSz="4540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5625" indent="1588" algn="l" defTabSz="454025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9DB1CF"/>
    <a:srgbClr val="FEF2F0"/>
    <a:srgbClr val="CFD9E7"/>
    <a:srgbClr val="E7ECF3"/>
    <a:srgbClr val="FCE5E0"/>
    <a:srgbClr val="FDF1EE"/>
    <a:srgbClr val="F8BAAE"/>
    <a:srgbClr val="4C6D9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80" autoAdjust="0"/>
    <p:restoredTop sz="91950" autoAdjust="0"/>
  </p:normalViewPr>
  <p:slideViewPr>
    <p:cSldViewPr snapToGrid="0">
      <p:cViewPr>
        <p:scale>
          <a:sx n="80" d="100"/>
          <a:sy n="80" d="100"/>
        </p:scale>
        <p:origin x="-810" y="-78"/>
      </p:cViewPr>
      <p:guideLst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0" y="-131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682"/>
    </p:cViewPr>
  </p:sorterViewPr>
  <p:notesViewPr>
    <p:cSldViewPr snapToGrid="0">
      <p:cViewPr varScale="1">
        <p:scale>
          <a:sx n="54" d="100"/>
          <a:sy n="54" d="100"/>
        </p:scale>
        <p:origin x="3341" y="8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A532EB92-8F05-435E-82DD-86D8CA3A87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 defTabSz="45717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3B28C01-3F17-4DEF-A45A-F0D208C308D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 defTabSz="45717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09263F-CE6C-4027-B3EA-3AB4E933FCBD}" type="datetimeFigureOut">
              <a:rPr lang="en-GB"/>
              <a:pPr>
                <a:defRPr/>
              </a:pPr>
              <a:t>12/10/2020</a:t>
            </a:fld>
            <a:endParaRPr lang="en-GB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xmlns="" id="{3CE5BC23-99AC-444B-B23E-7BEB8D297F9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608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0BB6F663-AD10-4C08-98D2-A6FA38A8A8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EF84750-A256-472F-A4E1-7A4F9C32D3F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 defTabSz="457178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D8FB311-D45A-4737-B963-C5591AEB8C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>
            <a:lvl1pPr algn="r" defTabSz="455613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7E0EE225-B276-477B-97CC-CF1789BB4E7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1388639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27635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36588" algn="l" defTabSz="127635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76350" algn="l" defTabSz="127635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916113" algn="l" defTabSz="127635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555875" algn="l" defTabSz="1276350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199947" algn="l" defTabSz="12799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839935" algn="l" defTabSz="12799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479925" algn="l" defTabSz="12799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5119915" algn="l" defTabSz="12799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Образ слайда 1">
            <a:extLst>
              <a:ext uri="{FF2B5EF4-FFF2-40B4-BE49-F238E27FC236}">
                <a16:creationId xmlns:a16="http://schemas.microsoft.com/office/drawing/2014/main" xmlns="" id="{297AA6B2-6762-4D3F-B460-FB4EA04028E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71550" y="1349375"/>
            <a:ext cx="4856163" cy="36417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8003" name="Заметки 2">
            <a:extLst>
              <a:ext uri="{FF2B5EF4-FFF2-40B4-BE49-F238E27FC236}">
                <a16:creationId xmlns:a16="http://schemas.microsoft.com/office/drawing/2014/main" xmlns="" id="{673E5B90-E77E-4503-A210-3969CD0EED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79525" eaLnBrk="1" hangingPunct="1"/>
            <a:r>
              <a:rPr lang="ru-RU" altLang="ru-RU">
                <a:latin typeface="Arial" panose="020B0604020202020204" pitchFamily="34" charset="0"/>
                <a:cs typeface="Arial" panose="020B0604020202020204" pitchFamily="34" charset="0"/>
              </a:rPr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128004" name="Номер слайда 3">
            <a:extLst>
              <a:ext uri="{FF2B5EF4-FFF2-40B4-BE49-F238E27FC236}">
                <a16:creationId xmlns:a16="http://schemas.microsoft.com/office/drawing/2014/main" xmlns="" id="{125B1518-23E4-404A-90BC-2D96910852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buFont typeface="Arial" panose="020B0604020202020204" pitchFamily="34" charset="0"/>
              <a:buNone/>
            </a:pPr>
            <a:fld id="{5BF13194-AE89-4AD9-AEC4-71E2BA561B3E}" type="slidenum">
              <a:rPr lang="ru-RU" altLang="ru-RU">
                <a:solidFill>
                  <a:srgbClr val="000000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pPr>
                <a:buClr>
                  <a:srgbClr val="000000"/>
                </a:buClr>
                <a:buFont typeface="Arial" panose="020B0604020202020204" pitchFamily="34" charset="0"/>
                <a:buNone/>
              </a:pPr>
              <a:t>2</a:t>
            </a:fld>
            <a:endParaRPr lang="ru-RU" altLang="ru-RU">
              <a:solidFill>
                <a:srgbClr val="000000"/>
              </a:solidFill>
              <a:latin typeface="Calibri" panose="020F0502020204030204" pitchFamily="34" charset="0"/>
              <a:sym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6950" y="1352550"/>
            <a:ext cx="4865688" cy="36480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1284288" eaLnBrk="1" hangingPunct="1"/>
            <a:r>
              <a:rPr lang="ru-RU" altLang="ru-RU" smtClean="0">
                <a:latin typeface="Arial" charset="0"/>
                <a:cs typeface="Arial" charset="0"/>
              </a:rPr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457200">
              <a:buClr>
                <a:srgbClr val="000000"/>
              </a:buClr>
              <a:buFont typeface="Arial" charset="0"/>
              <a:buNone/>
            </a:pPr>
            <a:fld id="{1AD32179-6348-4AE0-8CC7-07BD30D0220A}" type="slidenum">
              <a:rPr lang="ru-RU" altLang="ru-RU">
                <a:solidFill>
                  <a:srgbClr val="000000"/>
                </a:solidFill>
                <a:sym typeface="Arial" charset="0"/>
              </a:rPr>
              <a:pPr defTabSz="457200">
                <a:buClr>
                  <a:srgbClr val="000000"/>
                </a:buClr>
                <a:buFont typeface="Arial" charset="0"/>
                <a:buNone/>
              </a:pPr>
              <a:t>4</a:t>
            </a:fld>
            <a:endParaRPr lang="ru-RU" altLang="ru-RU">
              <a:solidFill>
                <a:srgbClr val="000000"/>
              </a:solidFill>
              <a:sym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46163" y="1392238"/>
            <a:ext cx="5011737" cy="37592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68275" indent="-168275" eaLnBrk="1" hangingPunct="1">
              <a:buFontTx/>
              <a:buChar char="•"/>
            </a:pPr>
            <a:endParaRPr lang="ru-RU" altLang="en-US" sz="1700" smtClean="0">
              <a:latin typeface="Arial" charset="0"/>
              <a:cs typeface="Arial" charset="0"/>
            </a:endParaRPr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457200">
              <a:buClr>
                <a:srgbClr val="000000"/>
              </a:buClr>
              <a:buFont typeface="Arial" charset="0"/>
              <a:buNone/>
            </a:pPr>
            <a:fld id="{2B894E85-BDDB-4B81-B111-E2BBD90C2A4F}" type="slidenum">
              <a:rPr lang="ru-RU" altLang="en-US">
                <a:solidFill>
                  <a:srgbClr val="000000"/>
                </a:solidFill>
                <a:sym typeface="Arial" charset="0"/>
              </a:rPr>
              <a:pPr defTabSz="457200">
                <a:buClr>
                  <a:srgbClr val="000000"/>
                </a:buClr>
                <a:buFont typeface="Arial" charset="0"/>
                <a:buNone/>
              </a:pPr>
              <a:t>5</a:t>
            </a:fld>
            <a:endParaRPr lang="ru-RU" altLang="en-US">
              <a:solidFill>
                <a:srgbClr val="000000"/>
              </a:solidFill>
              <a:sym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93800" y="1243013"/>
            <a:ext cx="4473575" cy="33543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2801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80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19291EDC-812C-484C-986D-2A64EB00A668}" type="slidenum">
              <a:rPr lang="ru-RU" altLang="ru-RU" smtClean="0">
                <a:solidFill>
                  <a:srgbClr val="000000"/>
                </a:solidFill>
                <a:latin typeface="Calibri" pitchFamily="34" charset="0"/>
              </a:rPr>
              <a:pPr/>
              <a:t>8</a:t>
            </a:fld>
            <a:endParaRPr lang="ru-RU" altLang="ru-RU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93800" y="1243013"/>
            <a:ext cx="4473575" cy="33543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28016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80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6F6A2960-01EB-4169-83D0-21B4B42AE6BB}" type="slidenum">
              <a:rPr lang="ru-RU" altLang="ru-RU" smtClean="0">
                <a:solidFill>
                  <a:srgbClr val="000000"/>
                </a:solidFill>
                <a:latin typeface="Calibri" pitchFamily="34" charset="0"/>
              </a:rPr>
              <a:pPr/>
              <a:t>9</a:t>
            </a:fld>
            <a:endParaRPr lang="ru-RU" altLang="ru-RU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27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30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33.xml"/><Relationship Id="rId7" Type="http://schemas.openxmlformats.org/officeDocument/2006/relationships/oleObject" Target="../embeddings/oleObject32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36.xml"/><Relationship Id="rId7" Type="http://schemas.openxmlformats.org/officeDocument/2006/relationships/oleObject" Target="../embeddings/oleObject3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oleObject" Target="../embeddings/oleObject39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38.bin"/><Relationship Id="rId5" Type="http://schemas.openxmlformats.org/officeDocument/2006/relationships/tags" Target="../tags/tag41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46.xml"/><Relationship Id="rId7" Type="http://schemas.openxmlformats.org/officeDocument/2006/relationships/oleObject" Target="../embeddings/oleObject41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49.xml"/><Relationship Id="rId7" Type="http://schemas.openxmlformats.org/officeDocument/2006/relationships/oleObject" Target="../embeddings/oleObject44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52.xml"/><Relationship Id="rId7" Type="http://schemas.openxmlformats.org/officeDocument/2006/relationships/oleObject" Target="../embeddings/oleObject47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55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58.xml"/><Relationship Id="rId7" Type="http://schemas.openxmlformats.org/officeDocument/2006/relationships/oleObject" Target="../embeddings/oleObject53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tags" Target="../tags/tag61.xml"/><Relationship Id="rId7" Type="http://schemas.openxmlformats.org/officeDocument/2006/relationships/oleObject" Target="../embeddings/oleObject56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64.xml"/><Relationship Id="rId7" Type="http://schemas.openxmlformats.org/officeDocument/2006/relationships/oleObject" Target="../embeddings/oleObject59.bin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7.xml"/><Relationship Id="rId7" Type="http://schemas.openxmlformats.org/officeDocument/2006/relationships/oleObject" Target="../embeddings/oleObject63.bin"/><Relationship Id="rId2" Type="http://schemas.openxmlformats.org/officeDocument/2006/relationships/tags" Target="../tags/tag6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62.bin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2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6.bin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72.xml"/><Relationship Id="rId7" Type="http://schemas.openxmlformats.org/officeDocument/2006/relationships/oleObject" Target="../embeddings/oleObject68.bin"/><Relationship Id="rId2" Type="http://schemas.openxmlformats.org/officeDocument/2006/relationships/tags" Target="../tags/tag7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6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tags" Target="../tags/tag75.xml"/><Relationship Id="rId7" Type="http://schemas.openxmlformats.org/officeDocument/2006/relationships/oleObject" Target="../embeddings/oleObject71.bin"/><Relationship Id="rId2" Type="http://schemas.openxmlformats.org/officeDocument/2006/relationships/tags" Target="../tags/tag7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78.xml"/><Relationship Id="rId7" Type="http://schemas.openxmlformats.org/officeDocument/2006/relationships/oleObject" Target="../embeddings/oleObject74.bin"/><Relationship Id="rId2" Type="http://schemas.openxmlformats.org/officeDocument/2006/relationships/tags" Target="../tags/tag7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81.xml"/><Relationship Id="rId7" Type="http://schemas.openxmlformats.org/officeDocument/2006/relationships/oleObject" Target="../embeddings/oleObject77.bin"/><Relationship Id="rId2" Type="http://schemas.openxmlformats.org/officeDocument/2006/relationships/tags" Target="../tags/tag80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84.xml"/><Relationship Id="rId7" Type="http://schemas.openxmlformats.org/officeDocument/2006/relationships/oleObject" Target="../embeddings/oleObject80.bin"/><Relationship Id="rId2" Type="http://schemas.openxmlformats.org/officeDocument/2006/relationships/tags" Target="../tags/tag8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7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ags" Target="../tags/tag87.xml"/><Relationship Id="rId7" Type="http://schemas.openxmlformats.org/officeDocument/2006/relationships/oleObject" Target="../embeddings/oleObject83.bin"/><Relationship Id="rId2" Type="http://schemas.openxmlformats.org/officeDocument/2006/relationships/tags" Target="../tags/tag86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90.xml"/><Relationship Id="rId7" Type="http://schemas.openxmlformats.org/officeDocument/2006/relationships/oleObject" Target="../embeddings/oleObject86.bin"/><Relationship Id="rId2" Type="http://schemas.openxmlformats.org/officeDocument/2006/relationships/tags" Target="../tags/tag89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8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0.bin"/><Relationship Id="rId3" Type="http://schemas.openxmlformats.org/officeDocument/2006/relationships/tags" Target="../tags/tag93.xml"/><Relationship Id="rId7" Type="http://schemas.openxmlformats.org/officeDocument/2006/relationships/oleObject" Target="../embeddings/oleObject89.bin"/><Relationship Id="rId2" Type="http://schemas.openxmlformats.org/officeDocument/2006/relationships/tags" Target="../tags/tag92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8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3.bin"/><Relationship Id="rId3" Type="http://schemas.openxmlformats.org/officeDocument/2006/relationships/tags" Target="../tags/tag96.xml"/><Relationship Id="rId7" Type="http://schemas.openxmlformats.org/officeDocument/2006/relationships/oleObject" Target="../embeddings/oleObject92.bin"/><Relationship Id="rId2" Type="http://schemas.openxmlformats.org/officeDocument/2006/relationships/tags" Target="../tags/tag9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6.bin"/><Relationship Id="rId3" Type="http://schemas.openxmlformats.org/officeDocument/2006/relationships/tags" Target="../tags/tag99.xml"/><Relationship Id="rId7" Type="http://schemas.openxmlformats.org/officeDocument/2006/relationships/oleObject" Target="../embeddings/oleObject95.bin"/><Relationship Id="rId2" Type="http://schemas.openxmlformats.org/officeDocument/2006/relationships/tags" Target="../tags/tag98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9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0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102.xml"/><Relationship Id="rId7" Type="http://schemas.openxmlformats.org/officeDocument/2006/relationships/oleObject" Target="../embeddings/oleObject98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9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oleObject" Target="../embeddings/oleObject102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08.xml"/><Relationship Id="rId11" Type="http://schemas.openxmlformats.org/officeDocument/2006/relationships/oleObject" Target="../embeddings/oleObject101.bin"/><Relationship Id="rId5" Type="http://schemas.openxmlformats.org/officeDocument/2006/relationships/tags" Target="../tags/tag107.xml"/><Relationship Id="rId10" Type="http://schemas.openxmlformats.org/officeDocument/2006/relationships/oleObject" Target="../embeddings/oleObject100.bin"/><Relationship Id="rId4" Type="http://schemas.openxmlformats.org/officeDocument/2006/relationships/tags" Target="../tags/tag106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5.bin"/><Relationship Id="rId3" Type="http://schemas.openxmlformats.org/officeDocument/2006/relationships/tags" Target="../tags/tag112.xml"/><Relationship Id="rId7" Type="http://schemas.openxmlformats.org/officeDocument/2006/relationships/oleObject" Target="../embeddings/oleObject104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8.bin"/><Relationship Id="rId3" Type="http://schemas.openxmlformats.org/officeDocument/2006/relationships/tags" Target="../tags/tag115.xml"/><Relationship Id="rId7" Type="http://schemas.openxmlformats.org/officeDocument/2006/relationships/oleObject" Target="../embeddings/oleObject107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6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1.bin"/><Relationship Id="rId3" Type="http://schemas.openxmlformats.org/officeDocument/2006/relationships/tags" Target="../tags/tag118.xml"/><Relationship Id="rId7" Type="http://schemas.openxmlformats.org/officeDocument/2006/relationships/oleObject" Target="../embeddings/oleObject110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10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4.bin"/><Relationship Id="rId3" Type="http://schemas.openxmlformats.org/officeDocument/2006/relationships/tags" Target="../tags/tag121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1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124.xml"/><Relationship Id="rId7" Type="http://schemas.openxmlformats.org/officeDocument/2006/relationships/oleObject" Target="../embeddings/oleObject116.bin"/><Relationship Id="rId2" Type="http://schemas.openxmlformats.org/officeDocument/2006/relationships/tags" Target="../tags/tag123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1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5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0.bin"/><Relationship Id="rId3" Type="http://schemas.openxmlformats.org/officeDocument/2006/relationships/tags" Target="../tags/tag127.xml"/><Relationship Id="rId7" Type="http://schemas.openxmlformats.org/officeDocument/2006/relationships/oleObject" Target="../embeddings/oleObject119.bin"/><Relationship Id="rId2" Type="http://schemas.openxmlformats.org/officeDocument/2006/relationships/tags" Target="../tags/tag126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1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8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3.bin"/><Relationship Id="rId3" Type="http://schemas.openxmlformats.org/officeDocument/2006/relationships/tags" Target="../tags/tag130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1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3.xml"/><Relationship Id="rId7" Type="http://schemas.openxmlformats.org/officeDocument/2006/relationships/oleObject" Target="../embeddings/oleObject12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125.bin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2.jpeg"/><Relationship Id="rId2" Type="http://schemas.openxmlformats.org/officeDocument/2006/relationships/tags" Target="../tags/tag135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129.bin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tags" Target="../tags/tag138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13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13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9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5.bin"/><Relationship Id="rId3" Type="http://schemas.openxmlformats.org/officeDocument/2006/relationships/tags" Target="../tags/tag141.xml"/><Relationship Id="rId7" Type="http://schemas.openxmlformats.org/officeDocument/2006/relationships/oleObject" Target="../embeddings/oleObject134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13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8.bin"/><Relationship Id="rId3" Type="http://schemas.openxmlformats.org/officeDocument/2006/relationships/tags" Target="../tags/tag144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143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13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5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1.bin"/><Relationship Id="rId3" Type="http://schemas.openxmlformats.org/officeDocument/2006/relationships/tags" Target="../tags/tag147.xml"/><Relationship Id="rId7" Type="http://schemas.openxmlformats.org/officeDocument/2006/relationships/oleObject" Target="../embeddings/oleObject140.bin"/><Relationship Id="rId2" Type="http://schemas.openxmlformats.org/officeDocument/2006/relationships/tags" Target="../tags/tag146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13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tags" Target="../tags/tag150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149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14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7.bin"/><Relationship Id="rId3" Type="http://schemas.openxmlformats.org/officeDocument/2006/relationships/tags" Target="../tags/tag153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152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14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tags" Target="../tags/tag156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14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7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3.bin"/><Relationship Id="rId3" Type="http://schemas.openxmlformats.org/officeDocument/2006/relationships/tags" Target="../tags/tag159.xml"/><Relationship Id="rId7" Type="http://schemas.openxmlformats.org/officeDocument/2006/relationships/oleObject" Target="../embeddings/oleObject152.bin"/><Relationship Id="rId2" Type="http://schemas.openxmlformats.org/officeDocument/2006/relationships/tags" Target="../tags/tag158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15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0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6.bin"/><Relationship Id="rId3" Type="http://schemas.openxmlformats.org/officeDocument/2006/relationships/tags" Target="../tags/tag162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15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9.bin"/><Relationship Id="rId3" Type="http://schemas.openxmlformats.org/officeDocument/2006/relationships/tags" Target="../tags/tag165.xml"/><Relationship Id="rId7" Type="http://schemas.openxmlformats.org/officeDocument/2006/relationships/oleObject" Target="../embeddings/oleObject158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5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6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tags" Target="../tags/tag168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167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16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9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oleObject" Target="../embeddings/oleObject165.bin"/><Relationship Id="rId2" Type="http://schemas.openxmlformats.org/officeDocument/2006/relationships/tags" Target="../tags/tag170.xml"/><Relationship Id="rId1" Type="http://schemas.openxmlformats.org/officeDocument/2006/relationships/vmlDrawing" Target="../drawings/vmlDrawing58.vml"/><Relationship Id="rId6" Type="http://schemas.openxmlformats.org/officeDocument/2006/relationships/tags" Target="../tags/tag174.xml"/><Relationship Id="rId11" Type="http://schemas.openxmlformats.org/officeDocument/2006/relationships/oleObject" Target="../embeddings/oleObject164.bin"/><Relationship Id="rId5" Type="http://schemas.openxmlformats.org/officeDocument/2006/relationships/tags" Target="../tags/tag173.xml"/><Relationship Id="rId10" Type="http://schemas.openxmlformats.org/officeDocument/2006/relationships/oleObject" Target="../embeddings/oleObject163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tags" Target="../tags/tag178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177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16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3" Type="http://schemas.openxmlformats.org/officeDocument/2006/relationships/tags" Target="../tags/tag181.xml"/><Relationship Id="rId7" Type="http://schemas.openxmlformats.org/officeDocument/2006/relationships/oleObject" Target="../embeddings/oleObject170.bin"/><Relationship Id="rId2" Type="http://schemas.openxmlformats.org/officeDocument/2006/relationships/tags" Target="../tags/tag180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16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4.bin"/><Relationship Id="rId3" Type="http://schemas.openxmlformats.org/officeDocument/2006/relationships/tags" Target="../tags/tag184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183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172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5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7.bin"/><Relationship Id="rId3" Type="http://schemas.openxmlformats.org/officeDocument/2006/relationships/tags" Target="../tags/tag187.xml"/><Relationship Id="rId7" Type="http://schemas.openxmlformats.org/officeDocument/2006/relationships/oleObject" Target="../embeddings/oleObject176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7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8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0.bin"/><Relationship Id="rId3" Type="http://schemas.openxmlformats.org/officeDocument/2006/relationships/tags" Target="../tags/tag190.xml"/><Relationship Id="rId7" Type="http://schemas.openxmlformats.org/officeDocument/2006/relationships/oleObject" Target="../embeddings/oleObject179.bin"/><Relationship Id="rId2" Type="http://schemas.openxmlformats.org/officeDocument/2006/relationships/tags" Target="../tags/tag189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7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1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3.bin"/><Relationship Id="rId3" Type="http://schemas.openxmlformats.org/officeDocument/2006/relationships/tags" Target="../tags/tag193.xml"/><Relationship Id="rId7" Type="http://schemas.openxmlformats.org/officeDocument/2006/relationships/oleObject" Target="../embeddings/oleObject182.bin"/><Relationship Id="rId2" Type="http://schemas.openxmlformats.org/officeDocument/2006/relationships/tags" Target="../tags/tag192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8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6.bin"/><Relationship Id="rId3" Type="http://schemas.openxmlformats.org/officeDocument/2006/relationships/tags" Target="../tags/tag196.xml"/><Relationship Id="rId7" Type="http://schemas.openxmlformats.org/officeDocument/2006/relationships/oleObject" Target="../embeddings/oleObject185.bin"/><Relationship Id="rId2" Type="http://schemas.openxmlformats.org/officeDocument/2006/relationships/tags" Target="../tags/tag19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18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99.xml"/><Relationship Id="rId7" Type="http://schemas.openxmlformats.org/officeDocument/2006/relationships/oleObject" Target="../embeddings/oleObject189.bin"/><Relationship Id="rId2" Type="http://schemas.openxmlformats.org/officeDocument/2006/relationships/tags" Target="../tags/tag198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188.bin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2.bin"/><Relationship Id="rId3" Type="http://schemas.openxmlformats.org/officeDocument/2006/relationships/tags" Target="../tags/tag201.xml"/><Relationship Id="rId7" Type="http://schemas.openxmlformats.org/officeDocument/2006/relationships/oleObject" Target="../embeddings/oleObject191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190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4.png"/><Relationship Id="rId4" Type="http://schemas.openxmlformats.org/officeDocument/2006/relationships/tags" Target="../tags/tag202.xml"/><Relationship Id="rId9" Type="http://schemas.openxmlformats.org/officeDocument/2006/relationships/oleObject" Target="../embeddings/oleObject19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2.jpeg"/><Relationship Id="rId2" Type="http://schemas.openxmlformats.org/officeDocument/2006/relationships/tags" Target="../tags/tag204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196.bin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9.bin"/><Relationship Id="rId3" Type="http://schemas.openxmlformats.org/officeDocument/2006/relationships/tags" Target="../tags/tag207.xml"/><Relationship Id="rId7" Type="http://schemas.openxmlformats.org/officeDocument/2006/relationships/oleObject" Target="../embeddings/oleObject198.bin"/><Relationship Id="rId2" Type="http://schemas.openxmlformats.org/officeDocument/2006/relationships/tags" Target="../tags/tag206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19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08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2.bin"/><Relationship Id="rId3" Type="http://schemas.openxmlformats.org/officeDocument/2006/relationships/tags" Target="../tags/tag210.xml"/><Relationship Id="rId7" Type="http://schemas.openxmlformats.org/officeDocument/2006/relationships/oleObject" Target="../embeddings/oleObject201.bin"/><Relationship Id="rId2" Type="http://schemas.openxmlformats.org/officeDocument/2006/relationships/tags" Target="../tags/tag209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20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1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5.bin"/><Relationship Id="rId3" Type="http://schemas.openxmlformats.org/officeDocument/2006/relationships/tags" Target="../tags/tag213.xml"/><Relationship Id="rId7" Type="http://schemas.openxmlformats.org/officeDocument/2006/relationships/oleObject" Target="../embeddings/oleObject204.bin"/><Relationship Id="rId2" Type="http://schemas.openxmlformats.org/officeDocument/2006/relationships/tags" Target="../tags/tag212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20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8.bin"/><Relationship Id="rId3" Type="http://schemas.openxmlformats.org/officeDocument/2006/relationships/tags" Target="../tags/tag216.xml"/><Relationship Id="rId7" Type="http://schemas.openxmlformats.org/officeDocument/2006/relationships/oleObject" Target="../embeddings/oleObject207.bin"/><Relationship Id="rId2" Type="http://schemas.openxmlformats.org/officeDocument/2006/relationships/tags" Target="../tags/tag215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20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7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1.bin"/><Relationship Id="rId3" Type="http://schemas.openxmlformats.org/officeDocument/2006/relationships/tags" Target="../tags/tag219.xml"/><Relationship Id="rId7" Type="http://schemas.openxmlformats.org/officeDocument/2006/relationships/oleObject" Target="../embeddings/oleObject210.bin"/><Relationship Id="rId2" Type="http://schemas.openxmlformats.org/officeDocument/2006/relationships/tags" Target="../tags/tag218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20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0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4.bin"/><Relationship Id="rId3" Type="http://schemas.openxmlformats.org/officeDocument/2006/relationships/tags" Target="../tags/tag222.xml"/><Relationship Id="rId7" Type="http://schemas.openxmlformats.org/officeDocument/2006/relationships/oleObject" Target="../embeddings/oleObject213.bin"/><Relationship Id="rId2" Type="http://schemas.openxmlformats.org/officeDocument/2006/relationships/tags" Target="../tags/tag221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2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7.bin"/><Relationship Id="rId3" Type="http://schemas.openxmlformats.org/officeDocument/2006/relationships/tags" Target="../tags/tag225.xml"/><Relationship Id="rId7" Type="http://schemas.openxmlformats.org/officeDocument/2006/relationships/oleObject" Target="../embeddings/oleObject216.bin"/><Relationship Id="rId2" Type="http://schemas.openxmlformats.org/officeDocument/2006/relationships/tags" Target="../tags/tag224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2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6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0.bin"/><Relationship Id="rId3" Type="http://schemas.openxmlformats.org/officeDocument/2006/relationships/tags" Target="../tags/tag228.xml"/><Relationship Id="rId7" Type="http://schemas.openxmlformats.org/officeDocument/2006/relationships/oleObject" Target="../embeddings/oleObject219.bin"/><Relationship Id="rId2" Type="http://schemas.openxmlformats.org/officeDocument/2006/relationships/tags" Target="../tags/tag227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21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29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3.bin"/><Relationship Id="rId3" Type="http://schemas.openxmlformats.org/officeDocument/2006/relationships/tags" Target="../tags/tag231.xml"/><Relationship Id="rId7" Type="http://schemas.openxmlformats.org/officeDocument/2006/relationships/oleObject" Target="../embeddings/oleObject222.bin"/><Relationship Id="rId2" Type="http://schemas.openxmlformats.org/officeDocument/2006/relationships/tags" Target="../tags/tag230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2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2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6.bin"/><Relationship Id="rId3" Type="http://schemas.openxmlformats.org/officeDocument/2006/relationships/tags" Target="../tags/tag234.xml"/><Relationship Id="rId7" Type="http://schemas.openxmlformats.org/officeDocument/2006/relationships/oleObject" Target="../embeddings/oleObject225.bin"/><Relationship Id="rId2" Type="http://schemas.openxmlformats.org/officeDocument/2006/relationships/tags" Target="../tags/tag233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22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9.bin"/><Relationship Id="rId3" Type="http://schemas.openxmlformats.org/officeDocument/2006/relationships/tags" Target="../tags/tag237.xml"/><Relationship Id="rId7" Type="http://schemas.openxmlformats.org/officeDocument/2006/relationships/oleObject" Target="../embeddings/oleObject228.bin"/><Relationship Id="rId2" Type="http://schemas.openxmlformats.org/officeDocument/2006/relationships/tags" Target="../tags/tag236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22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38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oleObject" Target="../embeddings/oleObject232.bin"/><Relationship Id="rId2" Type="http://schemas.openxmlformats.org/officeDocument/2006/relationships/tags" Target="../tags/tag239.xml"/><Relationship Id="rId1" Type="http://schemas.openxmlformats.org/officeDocument/2006/relationships/vmlDrawing" Target="../drawings/vmlDrawing81.vml"/><Relationship Id="rId6" Type="http://schemas.openxmlformats.org/officeDocument/2006/relationships/tags" Target="../tags/tag243.xml"/><Relationship Id="rId11" Type="http://schemas.openxmlformats.org/officeDocument/2006/relationships/oleObject" Target="../embeddings/oleObject231.bin"/><Relationship Id="rId5" Type="http://schemas.openxmlformats.org/officeDocument/2006/relationships/tags" Target="../tags/tag242.xml"/><Relationship Id="rId10" Type="http://schemas.openxmlformats.org/officeDocument/2006/relationships/oleObject" Target="../embeddings/oleObject230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5.bin"/><Relationship Id="rId3" Type="http://schemas.openxmlformats.org/officeDocument/2006/relationships/tags" Target="../tags/tag247.xml"/><Relationship Id="rId7" Type="http://schemas.openxmlformats.org/officeDocument/2006/relationships/oleObject" Target="../embeddings/oleObject234.bin"/><Relationship Id="rId2" Type="http://schemas.openxmlformats.org/officeDocument/2006/relationships/tags" Target="../tags/tag246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3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48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8.bin"/><Relationship Id="rId3" Type="http://schemas.openxmlformats.org/officeDocument/2006/relationships/tags" Target="../tags/tag250.xml"/><Relationship Id="rId7" Type="http://schemas.openxmlformats.org/officeDocument/2006/relationships/oleObject" Target="../embeddings/oleObject237.bin"/><Relationship Id="rId2" Type="http://schemas.openxmlformats.org/officeDocument/2006/relationships/tags" Target="../tags/tag249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23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1.bin"/><Relationship Id="rId3" Type="http://schemas.openxmlformats.org/officeDocument/2006/relationships/tags" Target="../tags/tag253.xml"/><Relationship Id="rId7" Type="http://schemas.openxmlformats.org/officeDocument/2006/relationships/oleObject" Target="../embeddings/oleObject240.bin"/><Relationship Id="rId2" Type="http://schemas.openxmlformats.org/officeDocument/2006/relationships/tags" Target="../tags/tag252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23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4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4.bin"/><Relationship Id="rId3" Type="http://schemas.openxmlformats.org/officeDocument/2006/relationships/tags" Target="../tags/tag256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255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24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7.bin"/><Relationship Id="rId3" Type="http://schemas.openxmlformats.org/officeDocument/2006/relationships/tags" Target="../tags/tag259.xml"/><Relationship Id="rId7" Type="http://schemas.openxmlformats.org/officeDocument/2006/relationships/oleObject" Target="../embeddings/oleObject246.bin"/><Relationship Id="rId2" Type="http://schemas.openxmlformats.org/officeDocument/2006/relationships/tags" Target="../tags/tag258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24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60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tags" Target="../tags/tag262.xml"/><Relationship Id="rId7" Type="http://schemas.openxmlformats.org/officeDocument/2006/relationships/oleObject" Target="../embeddings/oleObject249.bin"/><Relationship Id="rId2" Type="http://schemas.openxmlformats.org/officeDocument/2006/relationships/tags" Target="../tags/tag261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24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63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3.bin"/><Relationship Id="rId3" Type="http://schemas.openxmlformats.org/officeDocument/2006/relationships/tags" Target="../tags/tag265.xml"/><Relationship Id="rId7" Type="http://schemas.openxmlformats.org/officeDocument/2006/relationships/oleObject" Target="../embeddings/oleObject252.bin"/><Relationship Id="rId2" Type="http://schemas.openxmlformats.org/officeDocument/2006/relationships/tags" Target="../tags/tag264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25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6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8.xml"/><Relationship Id="rId7" Type="http://schemas.openxmlformats.org/officeDocument/2006/relationships/oleObject" Target="../embeddings/oleObject256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255.bin"/><Relationship Id="rId5" Type="http://schemas.openxmlformats.org/officeDocument/2006/relationships/oleObject" Target="../embeddings/oleObject254.bin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4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9.bin"/><Relationship Id="rId3" Type="http://schemas.openxmlformats.org/officeDocument/2006/relationships/tags" Target="../tags/tag270.xml"/><Relationship Id="rId7" Type="http://schemas.openxmlformats.org/officeDocument/2006/relationships/oleObject" Target="../embeddings/oleObject258.bin"/><Relationship Id="rId2" Type="http://schemas.openxmlformats.org/officeDocument/2006/relationships/tags" Target="../tags/tag269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257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4.png"/><Relationship Id="rId4" Type="http://schemas.openxmlformats.org/officeDocument/2006/relationships/tags" Target="../tags/tag271.xml"/><Relationship Id="rId9" Type="http://schemas.openxmlformats.org/officeDocument/2006/relationships/oleObject" Target="../embeddings/oleObject26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A24A07E2-3F9A-4A4A-8989-F932D8FFC4E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111" name="think-cell Slide" r:id="rId5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F8B8A211-2402-409E-B0F1-43AA17278EC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5FDFFFAA-4962-4B65-87A9-C306DE9547C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112" name="think-cell Slide" r:id="rId6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52E711DC-E3D2-4D0F-9861-A97D682E7BB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Рисунок 8">
            <a:extLst>
              <a:ext uri="{FF2B5EF4-FFF2-40B4-BE49-F238E27FC236}">
                <a16:creationId xmlns:a16="http://schemas.microsoft.com/office/drawing/2014/main" xmlns="" id="{ED489C8D-6673-498A-805C-610A905253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312738" y="2103438"/>
            <a:ext cx="12309475" cy="57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13">
            <a:extLst>
              <a:ext uri="{FF2B5EF4-FFF2-40B4-BE49-F238E27FC236}">
                <a16:creationId xmlns:a16="http://schemas.microsoft.com/office/drawing/2014/main" xmlns="" id="{9A485801-9064-498A-B276-8516BBC23DB8}"/>
              </a:ext>
            </a:extLst>
          </p:cNvPr>
          <p:cNvSpPr/>
          <p:nvPr userDrawn="1"/>
        </p:nvSpPr>
        <p:spPr>
          <a:xfrm>
            <a:off x="431800" y="2103438"/>
            <a:ext cx="9077325" cy="394970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0" y="2103208"/>
            <a:ext cx="8436761" cy="2635171"/>
          </a:xfrm>
        </p:spPr>
        <p:txBody>
          <a:bodyPr bIns="233966" anchor="b"/>
          <a:lstStyle>
            <a:lvl1pPr marL="574364" indent="0" algn="l">
              <a:defRPr sz="24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8" y="2555875"/>
            <a:ext cx="11961495" cy="6091873"/>
          </a:xfrm>
          <a:prstGeom prst="rect">
            <a:avLst/>
          </a:prstGeom>
        </p:spPr>
        <p:txBody>
          <a:bodyPr/>
          <a:lstStyle>
            <a:lvl1pPr marL="319995" indent="-319995" algn="l" defTabSz="1279980" rtl="0" eaLnBrk="1" latinLnBrk="0" hangingPunct="1">
              <a:lnSpc>
                <a:spcPct val="90000"/>
              </a:lnSpc>
              <a:spcBef>
                <a:spcPts val="1399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985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973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996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995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994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9931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9919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9910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4393AA02-48E6-4339-8D76-438BC6D501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4088" y="8899525"/>
            <a:ext cx="3119437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C83B342C-D4D7-4DA1-B3CA-378929F28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225" y="8899525"/>
            <a:ext cx="4679950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29FB5DCD-9FCF-4297-807A-5FEDCDB68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1CB661-A5DC-42EF-BB11-B375C226A69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8654920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DBA14B9D-D881-4497-A6C9-6453A5FBE45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0334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08947A24-9670-43C4-9DA4-D864031E1D9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436792D2-74D9-4DCB-8619-80E2F332CB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0335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3BDD80A-F9C5-4AB8-9732-6E25EB2307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F3B81C52-A19E-41A6-807E-1900ABAD742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36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A14903E5-DFE4-4302-BAAA-F9576C08F94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8"/>
            <a:ext cx="6480810" cy="6823075"/>
          </a:xfrm>
        </p:spPr>
        <p:txBody>
          <a:bodyPr rtlCol="0">
            <a:normAutofit/>
          </a:bodyPr>
          <a:lstStyle>
            <a:lvl1pPr marL="0" indent="0">
              <a:buNone/>
              <a:defRPr sz="4500"/>
            </a:lvl1pPr>
            <a:lvl2pPr marL="639990" indent="0">
              <a:buNone/>
              <a:defRPr sz="3900"/>
            </a:lvl2pPr>
            <a:lvl3pPr marL="1279980" indent="0">
              <a:buNone/>
              <a:defRPr sz="3400"/>
            </a:lvl3pPr>
            <a:lvl4pPr marL="1919968" indent="0">
              <a:buNone/>
              <a:defRPr sz="2800"/>
            </a:lvl4pPr>
            <a:lvl5pPr marL="2559957" indent="0">
              <a:buNone/>
              <a:defRPr sz="2800"/>
            </a:lvl5pPr>
            <a:lvl6pPr marL="3199947" indent="0">
              <a:buNone/>
              <a:defRPr sz="2800"/>
            </a:lvl6pPr>
            <a:lvl7pPr marL="3839935" indent="0">
              <a:buNone/>
              <a:defRPr sz="2800"/>
            </a:lvl7pPr>
            <a:lvl8pPr marL="4479925" indent="0">
              <a:buNone/>
              <a:defRPr sz="2800"/>
            </a:lvl8pPr>
            <a:lvl9pPr marL="5119915" indent="0">
              <a:buNone/>
              <a:defRPr sz="28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1D43C2CA-95ED-48DC-B94A-3CBBEDF13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A00CFF-4421-44B4-AF38-2FA67B74528C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FD031624-C939-4557-B02E-0D72DF22E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BA651FAA-549B-450E-90B9-167712094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6D1F85-05F4-4F9A-85A0-41B87A27B4CB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682246533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E0A01768-06D3-4482-82F2-745C5CB89C0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1358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2AA56EF8-6287-4A75-B609-783D1E95DB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DF49874A-ED1E-440A-8A4C-3F024A81E01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1359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AF51EAAC-D3FD-46F9-B1F9-9F999E323E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2F917762-6B88-413F-A4F4-C0E9B8C777E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60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B37DA8EE-3340-471B-8F1F-1E375453E18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0F9A6738-8647-4828-93C4-69BC5DE2B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D82E7E-11B3-4242-9C70-A1CB501CE91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AA515B54-CC0B-46AF-88DA-58C8F50E3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5E0010C8-8ED9-47D0-8EA1-AF42A9712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EC9732-2325-441F-B286-ED19574421EA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1685263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01ABD393-FDF8-48F6-B328-8EE166C34E9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382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61C20659-B3A0-4823-91E6-A4211FA9CF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D64DAE1F-E23F-4C94-8CB9-7F90067E65C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383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936C2E7B-2C91-4DE9-BF06-49C3DF7FA7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07553381-9930-4E5A-9BC7-719762A3BB7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84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C3B7847F-28E6-49C2-A8E5-1E0980C774D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AEAD8133-DC28-409C-AFE9-5F9AC35C26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61203-B68C-4E0A-AEA0-C2C669133CD8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42CCF357-6C9C-466E-8855-8D8E57607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E4187B7E-C7B6-4A9C-9C00-4E5988F8A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27CCE9-D14D-4ECA-B07C-BC0015CFE1B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77044218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09373DF6-1043-4F9D-9931-8117A518A52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40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7F95E93E-FB70-4AB5-A188-D57B7E27E0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A8A30B15-B9F7-41F0-9FAB-C805D784815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40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7A4D0BBF-439B-4648-9F97-D45C760092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F9E33EB0-9245-4389-B633-CC848286DF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408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ECCCFFA8-7718-4746-AB04-F5AC144DB89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9477" y="1016649"/>
            <a:ext cx="11042651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B284389-46C3-416F-93E9-60FB5F0C1F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9355AC-EDE2-48C9-AB63-F99153D57FB2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5376298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>
            <a:extLst>
              <a:ext uri="{FF2B5EF4-FFF2-40B4-BE49-F238E27FC236}">
                <a16:creationId xmlns:a16="http://schemas.microsoft.com/office/drawing/2014/main" xmlns="" id="{92AB9176-7C32-43A3-8FA9-736261E0E27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430" name="think-cell Slide" r:id="rId10" imgW="360" imgH="360" progId="">
              <p:embed/>
            </p:oleObj>
          </a:graphicData>
        </a:graphic>
      </p:graphicFrame>
      <p:sp>
        <p:nvSpPr>
          <p:cNvPr id="21" name="Rectangle 7" hidden="1">
            <a:extLst>
              <a:ext uri="{FF2B5EF4-FFF2-40B4-BE49-F238E27FC236}">
                <a16:creationId xmlns:a16="http://schemas.microsoft.com/office/drawing/2014/main" xmlns="" id="{6AA29059-FAD0-4575-AF6C-08D7F28B89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3">
            <a:extLst>
              <a:ext uri="{FF2B5EF4-FFF2-40B4-BE49-F238E27FC236}">
                <a16:creationId xmlns:a16="http://schemas.microsoft.com/office/drawing/2014/main" xmlns="" id="{B2F0C71A-3CA2-4D19-A9EB-335DAF6724E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431" name="think-cell Slide" r:id="rId11" imgW="360" imgH="360" progId="">
              <p:embed/>
            </p:oleObj>
          </a:graphicData>
        </a:graphic>
      </p:graphicFrame>
      <p:sp>
        <p:nvSpPr>
          <p:cNvPr id="23" name="Rectangle 7" hidden="1">
            <a:extLst>
              <a:ext uri="{FF2B5EF4-FFF2-40B4-BE49-F238E27FC236}">
                <a16:creationId xmlns:a16="http://schemas.microsoft.com/office/drawing/2014/main" xmlns="" id="{7CA6A25E-9D08-46F9-AA3A-65BCBE1F88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4" name="Object 117">
            <a:extLst>
              <a:ext uri="{FF2B5EF4-FFF2-40B4-BE49-F238E27FC236}">
                <a16:creationId xmlns:a16="http://schemas.microsoft.com/office/drawing/2014/main" xmlns="" id="{E27D7815-5618-4357-9BB5-69CE4694071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432" name="think-cell Slide" r:id="rId12" imgW="360" imgH="360" progId="">
              <p:embed/>
            </p:oleObj>
          </a:graphicData>
        </a:graphic>
      </p:graphicFrame>
      <p:sp>
        <p:nvSpPr>
          <p:cNvPr id="25" name="Rectangle 6" hidden="1">
            <a:extLst>
              <a:ext uri="{FF2B5EF4-FFF2-40B4-BE49-F238E27FC236}">
                <a16:creationId xmlns:a16="http://schemas.microsoft.com/office/drawing/2014/main" xmlns="" id="{0A0BA14B-EBA0-4426-A9F2-C6156CA913E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xmlns="" id="{BAD1A8B3-463D-472D-9702-A6B6CD4B5481}"/>
              </a:ext>
            </a:extLst>
          </p:cNvPr>
          <p:cNvSpPr/>
          <p:nvPr userDrawn="1"/>
        </p:nvSpPr>
        <p:spPr>
          <a:xfrm>
            <a:off x="461963" y="1881188"/>
            <a:ext cx="2922587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27" name="Rectangle 21">
            <a:extLst>
              <a:ext uri="{FF2B5EF4-FFF2-40B4-BE49-F238E27FC236}">
                <a16:creationId xmlns:a16="http://schemas.microsoft.com/office/drawing/2014/main" xmlns="" id="{6AB29FDA-557C-465D-BD9A-1048BF2BE6C6}"/>
              </a:ext>
            </a:extLst>
          </p:cNvPr>
          <p:cNvSpPr/>
          <p:nvPr userDrawn="1"/>
        </p:nvSpPr>
        <p:spPr>
          <a:xfrm>
            <a:off x="34464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28" name="Rectangle 23">
            <a:extLst>
              <a:ext uri="{FF2B5EF4-FFF2-40B4-BE49-F238E27FC236}">
                <a16:creationId xmlns:a16="http://schemas.microsoft.com/office/drawing/2014/main" xmlns="" id="{DEE38BCE-4E43-4112-8C69-6A4E321B8F8C}"/>
              </a:ext>
            </a:extLst>
          </p:cNvPr>
          <p:cNvSpPr/>
          <p:nvPr userDrawn="1"/>
        </p:nvSpPr>
        <p:spPr>
          <a:xfrm>
            <a:off x="64309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29" name="Flowchart: Off-page Connector 13">
            <a:extLst>
              <a:ext uri="{FF2B5EF4-FFF2-40B4-BE49-F238E27FC236}">
                <a16:creationId xmlns:a16="http://schemas.microsoft.com/office/drawing/2014/main" xmlns="" id="{127D6043-1890-4330-8B83-C0E221265583}"/>
              </a:ext>
            </a:extLst>
          </p:cNvPr>
          <p:cNvSpPr/>
          <p:nvPr userDrawn="1"/>
        </p:nvSpPr>
        <p:spPr>
          <a:xfrm>
            <a:off x="34464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Заделы региона</a:t>
            </a:r>
            <a:endParaRPr lang="en-GB" sz="1500" b="1" dirty="0"/>
          </a:p>
        </p:txBody>
      </p:sp>
      <p:sp>
        <p:nvSpPr>
          <p:cNvPr id="30" name="Flowchart: Off-page Connector 14">
            <a:extLst>
              <a:ext uri="{FF2B5EF4-FFF2-40B4-BE49-F238E27FC236}">
                <a16:creationId xmlns:a16="http://schemas.microsoft.com/office/drawing/2014/main" xmlns="" id="{B65DADCC-70F2-4BFB-9A52-3916B008C2C1}"/>
              </a:ext>
            </a:extLst>
          </p:cNvPr>
          <p:cNvSpPr/>
          <p:nvPr userDrawn="1"/>
        </p:nvSpPr>
        <p:spPr>
          <a:xfrm>
            <a:off x="64309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Тренды отрасли</a:t>
            </a:r>
            <a:endParaRPr lang="en-GB" sz="1500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2D849110-7414-4417-A8A7-82E2BEC3D0C8}"/>
              </a:ext>
            </a:extLst>
          </p:cNvPr>
          <p:cNvSpPr txBox="1"/>
          <p:nvPr userDrawn="1"/>
        </p:nvSpPr>
        <p:spPr>
          <a:xfrm>
            <a:off x="461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1.1. Ключевые показатели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0601FD1-ABA8-419D-BFC8-0619E40EDC4B}"/>
              </a:ext>
            </a:extLst>
          </p:cNvPr>
          <p:cNvSpPr txBox="1"/>
          <p:nvPr userDrawn="1"/>
        </p:nvSpPr>
        <p:spPr>
          <a:xfrm>
            <a:off x="461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1.2. Связанные отрасли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6662C8E6-6ADB-4838-80DF-94433BACEF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207486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schemeClr val="bg1"/>
                </a:solidFill>
              </a:rPr>
              <a:t>2.1. Топ</a:t>
            </a:r>
            <a:r>
              <a:rPr lang="en-US" sz="1400" b="1">
                <a:solidFill>
                  <a:schemeClr val="bg1"/>
                </a:solidFill>
              </a:rPr>
              <a:t>-5 </a:t>
            </a:r>
            <a:r>
              <a:rPr lang="ru-RU" sz="1400" b="1">
                <a:solidFill>
                  <a:schemeClr val="bg1"/>
                </a:solidFill>
              </a:rPr>
              <a:t>орг-ий </a:t>
            </a:r>
            <a:r>
              <a:rPr lang="en-GB" sz="1400" b="1">
                <a:solidFill>
                  <a:schemeClr val="bg1"/>
                </a:solidFill>
              </a:rPr>
              <a:t>(&gt;50 </a:t>
            </a:r>
            <a:r>
              <a:rPr lang="ru-RU" sz="1400" b="1">
                <a:solidFill>
                  <a:schemeClr val="bg1"/>
                </a:solidFill>
              </a:rPr>
              <a:t>млн р.):</a:t>
            </a: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AB35031E-D064-4921-81C6-CFB70EB190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384651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schemeClr val="bg1"/>
                </a:solidFill>
              </a:rPr>
              <a:t>2.2 Ключевые продукты:</a:t>
            </a: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xmlns="" id="{8AD984B2-8BB4-4F19-96E5-DD94A1F1408E}"/>
              </a:ext>
            </a:extLst>
          </p:cNvPr>
          <p:cNvSpPr/>
          <p:nvPr userDrawn="1"/>
        </p:nvSpPr>
        <p:spPr>
          <a:xfrm>
            <a:off x="9417050" y="1881188"/>
            <a:ext cx="2922588" cy="614362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03835BD8-FC62-4F9F-9F0F-8A3EAC1ED8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5176838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schemeClr val="bg1"/>
                </a:solidFill>
              </a:rPr>
              <a:t>2.3. Ресурсы:</a:t>
            </a:r>
            <a:endParaRPr lang="en-GB" sz="1400" b="1">
              <a:solidFill>
                <a:schemeClr val="bg1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>
                <a16:creationId xmlns:a16="http://schemas.microsoft.com/office/drawing/2014/main" xmlns="" id="{DE64023E-9B14-4B54-A33F-356F18C97613}"/>
              </a:ext>
            </a:extLst>
          </p:cNvPr>
          <p:cNvSpPr/>
          <p:nvPr userDrawn="1"/>
        </p:nvSpPr>
        <p:spPr>
          <a:xfrm>
            <a:off x="9417050" y="1492250"/>
            <a:ext cx="2922588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965" tIns="45713" rIns="0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Возможности локализации</a:t>
            </a:r>
            <a:endParaRPr lang="en-GB" sz="1500" b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D7C07E57-512D-4C56-A8C9-13A20507FB7A}"/>
              </a:ext>
            </a:extLst>
          </p:cNvPr>
          <p:cNvSpPr txBox="1"/>
          <p:nvPr userDrawn="1"/>
        </p:nvSpPr>
        <p:spPr>
          <a:xfrm>
            <a:off x="6430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3.1. Мировые тренды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204741A9-89C6-4F7C-BFBD-6AF369D360E5}"/>
              </a:ext>
            </a:extLst>
          </p:cNvPr>
          <p:cNvSpPr txBox="1"/>
          <p:nvPr userDrawn="1"/>
        </p:nvSpPr>
        <p:spPr>
          <a:xfrm>
            <a:off x="6454775" y="23653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Новые продукты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AECF1D50-0EAD-4E6A-80A1-E75DADE07DCC}"/>
              </a:ext>
            </a:extLst>
          </p:cNvPr>
          <p:cNvSpPr txBox="1"/>
          <p:nvPr userDrawn="1"/>
        </p:nvSpPr>
        <p:spPr>
          <a:xfrm>
            <a:off x="6430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3.2. Российские тренды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26CB164E-CC74-4C7F-BCAD-FEC1F71DC4B7}"/>
              </a:ext>
            </a:extLst>
          </p:cNvPr>
          <p:cNvSpPr txBox="1"/>
          <p:nvPr userDrawn="1"/>
        </p:nvSpPr>
        <p:spPr>
          <a:xfrm>
            <a:off x="476250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Производство</a:t>
            </a:r>
            <a:r>
              <a:rPr lang="en-US" sz="1400" dirty="0">
                <a:latin typeface="+mn-lt"/>
                <a:cs typeface="+mn-cs"/>
              </a:rPr>
              <a:t> (2017)</a:t>
            </a:r>
            <a:r>
              <a:rPr lang="ru-RU" sz="1400" dirty="0">
                <a:latin typeface="+mn-lt"/>
                <a:cs typeface="+mn-cs"/>
              </a:rPr>
              <a:t>, млрд руб.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5F3E0E6A-6671-40AD-AC4F-64AC65B6F1B5}"/>
              </a:ext>
            </a:extLst>
          </p:cNvPr>
          <p:cNvSpPr txBox="1"/>
          <p:nvPr userDrawn="1"/>
        </p:nvSpPr>
        <p:spPr>
          <a:xfrm>
            <a:off x="476250" y="3846513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Рабочие места</a:t>
            </a:r>
            <a:r>
              <a:rPr lang="en-US" sz="1400" dirty="0">
                <a:latin typeface="+mn-lt"/>
                <a:cs typeface="+mn-cs"/>
              </a:rPr>
              <a:t> (2017)</a:t>
            </a:r>
            <a:r>
              <a:rPr lang="ru-RU" sz="1400" dirty="0">
                <a:latin typeface="+mn-lt"/>
                <a:cs typeface="+mn-cs"/>
              </a:rPr>
              <a:t>, тыс. ед.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165E3526-7473-4D17-AAE8-48C9B4465D97}"/>
              </a:ext>
            </a:extLst>
          </p:cNvPr>
          <p:cNvSpPr txBox="1"/>
          <p:nvPr userDrawn="1"/>
        </p:nvSpPr>
        <p:spPr>
          <a:xfrm>
            <a:off x="3470275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Выручка (2017), млрд руб.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86AE2784-2897-4B8B-BE2F-F9DBEC29D8B3}"/>
              </a:ext>
            </a:extLst>
          </p:cNvPr>
          <p:cNvSpPr txBox="1"/>
          <p:nvPr userDrawn="1"/>
        </p:nvSpPr>
        <p:spPr>
          <a:xfrm>
            <a:off x="3470275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Природные ресурсы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E99DDA5C-493D-4D51-8E5D-9B0EF876EDA9}"/>
              </a:ext>
            </a:extLst>
          </p:cNvPr>
          <p:cNvSpPr txBox="1"/>
          <p:nvPr userDrawn="1"/>
        </p:nvSpPr>
        <p:spPr>
          <a:xfrm>
            <a:off x="3470275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Человеческий потенциал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82951ACB-3FC2-4C72-B0F0-946C0807EBD7}"/>
              </a:ext>
            </a:extLst>
          </p:cNvPr>
          <p:cNvSpPr txBox="1"/>
          <p:nvPr userDrawn="1"/>
        </p:nvSpPr>
        <p:spPr>
          <a:xfrm>
            <a:off x="6454775" y="38369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Растущие рынки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4F63C558-D0B1-4F70-AE76-83677050124B}"/>
              </a:ext>
            </a:extLst>
          </p:cNvPr>
          <p:cNvSpPr txBox="1"/>
          <p:nvPr userDrawn="1"/>
        </p:nvSpPr>
        <p:spPr>
          <a:xfrm>
            <a:off x="6454775" y="54895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Госполитика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D1D8002-7B1C-45E3-89CB-B16C1CD65EF8}"/>
              </a:ext>
            </a:extLst>
          </p:cNvPr>
          <p:cNvSpPr txBox="1"/>
          <p:nvPr userDrawn="1"/>
        </p:nvSpPr>
        <p:spPr>
          <a:xfrm>
            <a:off x="6454775" y="67325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Импортозамещение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8F14B4AC-BB43-466C-B311-73A7F1A97A2F}"/>
              </a:ext>
            </a:extLst>
          </p:cNvPr>
          <p:cNvSpPr txBox="1"/>
          <p:nvPr userDrawn="1"/>
        </p:nvSpPr>
        <p:spPr>
          <a:xfrm>
            <a:off x="476250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Отрасли-поставщики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3F527769-7383-47E6-998F-A1A0268C5EF4}"/>
              </a:ext>
            </a:extLst>
          </p:cNvPr>
          <p:cNvSpPr txBox="1"/>
          <p:nvPr userDrawn="1"/>
        </p:nvSpPr>
        <p:spPr>
          <a:xfrm>
            <a:off x="476250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latin typeface="+mn-lt"/>
                <a:cs typeface="+mn-cs"/>
              </a:rPr>
              <a:t>Отрасли-потребители:</a:t>
            </a:r>
            <a:endParaRPr lang="en-GB" sz="1400" dirty="0">
              <a:latin typeface="+mn-lt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B4E339CA-0E32-4B8B-A654-6D790990B6B1}"/>
              </a:ext>
            </a:extLst>
          </p:cNvPr>
          <p:cNvSpPr txBox="1"/>
          <p:nvPr userDrawn="1"/>
        </p:nvSpPr>
        <p:spPr>
          <a:xfrm>
            <a:off x="9417050" y="2074863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4.1. Поставщики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41248934-E5B7-436E-AE7D-56411EE63A12}"/>
              </a:ext>
            </a:extLst>
          </p:cNvPr>
          <p:cNvSpPr txBox="1"/>
          <p:nvPr userDrawn="1"/>
        </p:nvSpPr>
        <p:spPr>
          <a:xfrm>
            <a:off x="9417050" y="38369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4.2. Потребители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D915884-63F9-4A23-B796-33BCF0765BBD}"/>
              </a:ext>
            </a:extLst>
          </p:cNvPr>
          <p:cNvSpPr txBox="1"/>
          <p:nvPr userDrawn="1"/>
        </p:nvSpPr>
        <p:spPr>
          <a:xfrm>
            <a:off x="9417050" y="5165725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4.3. Ремонт/монтаж оборуд-ия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340DBA38-766E-4D85-9878-802101A79E37}"/>
              </a:ext>
            </a:extLst>
          </p:cNvPr>
          <p:cNvSpPr txBox="1"/>
          <p:nvPr userDrawn="1"/>
        </p:nvSpPr>
        <p:spPr>
          <a:xfrm>
            <a:off x="9417050" y="67325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+mn-cs"/>
              </a:rPr>
              <a:t>4.4. Новые продукты:</a:t>
            </a:r>
            <a:endParaRPr lang="en-GB" sz="14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8" name="Isosceles Triangle 66">
            <a:extLst>
              <a:ext uri="{FF2B5EF4-FFF2-40B4-BE49-F238E27FC236}">
                <a16:creationId xmlns:a16="http://schemas.microsoft.com/office/drawing/2014/main" xmlns="" id="{8433E01C-7981-4F9C-83C7-0A957673AB89}"/>
              </a:ext>
            </a:extLst>
          </p:cNvPr>
          <p:cNvSpPr/>
          <p:nvPr userDrawn="1"/>
        </p:nvSpPr>
        <p:spPr>
          <a:xfrm flipV="1">
            <a:off x="476250" y="8069263"/>
            <a:ext cx="2908300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69" name="Isosceles Triangle 67">
            <a:extLst>
              <a:ext uri="{FF2B5EF4-FFF2-40B4-BE49-F238E27FC236}">
                <a16:creationId xmlns:a16="http://schemas.microsoft.com/office/drawing/2014/main" xmlns="" id="{1C716062-9147-454D-A055-18921C9399D1}"/>
              </a:ext>
            </a:extLst>
          </p:cNvPr>
          <p:cNvSpPr/>
          <p:nvPr userDrawn="1"/>
        </p:nvSpPr>
        <p:spPr>
          <a:xfrm flipV="1">
            <a:off x="3460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70" name="Isosceles Triangle 68">
            <a:extLst>
              <a:ext uri="{FF2B5EF4-FFF2-40B4-BE49-F238E27FC236}">
                <a16:creationId xmlns:a16="http://schemas.microsoft.com/office/drawing/2014/main" xmlns="" id="{2D279E1A-3203-40D2-9F90-2E06C468B4B7}"/>
              </a:ext>
            </a:extLst>
          </p:cNvPr>
          <p:cNvSpPr/>
          <p:nvPr userDrawn="1"/>
        </p:nvSpPr>
        <p:spPr>
          <a:xfrm flipV="1">
            <a:off x="64452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75" name="Isosceles Triangle 69">
            <a:extLst>
              <a:ext uri="{FF2B5EF4-FFF2-40B4-BE49-F238E27FC236}">
                <a16:creationId xmlns:a16="http://schemas.microsoft.com/office/drawing/2014/main" xmlns="" id="{F4B4A195-C98D-46C8-A30B-57277D7DE29F}"/>
              </a:ext>
            </a:extLst>
          </p:cNvPr>
          <p:cNvSpPr/>
          <p:nvPr userDrawn="1"/>
        </p:nvSpPr>
        <p:spPr>
          <a:xfrm flipV="1">
            <a:off x="9429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/>
          </a:p>
        </p:txBody>
      </p:sp>
      <p:sp>
        <p:nvSpPr>
          <p:cNvPr id="76" name="Flowchart: Off-page Connector 12">
            <a:extLst>
              <a:ext uri="{FF2B5EF4-FFF2-40B4-BE49-F238E27FC236}">
                <a16:creationId xmlns:a16="http://schemas.microsoft.com/office/drawing/2014/main" xmlns="" id="{8BA6485B-2478-4898-98BD-47F0D638FF5A}"/>
              </a:ext>
            </a:extLst>
          </p:cNvPr>
          <p:cNvSpPr/>
          <p:nvPr userDrawn="1"/>
        </p:nvSpPr>
        <p:spPr>
          <a:xfrm>
            <a:off x="461963" y="1492250"/>
            <a:ext cx="2922587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/>
              <a:t>Описание отрасли</a:t>
            </a:r>
            <a:endParaRPr lang="en-GB" sz="1500" b="1" dirty="0"/>
          </a:p>
        </p:txBody>
      </p:sp>
      <p:sp>
        <p:nvSpPr>
          <p:cNvPr id="77" name="Oval 16">
            <a:extLst>
              <a:ext uri="{FF2B5EF4-FFF2-40B4-BE49-F238E27FC236}">
                <a16:creationId xmlns:a16="http://schemas.microsoft.com/office/drawing/2014/main" xmlns="" id="{51A57468-D807-4C0D-B26D-9CE58DA68BA5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34036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chemeClr val="bg1"/>
                </a:solidFill>
              </a:rPr>
              <a:t>2</a:t>
            </a:r>
            <a:endParaRPr lang="en-GB" sz="1500" b="1" dirty="0">
              <a:solidFill>
                <a:schemeClr val="bg1"/>
              </a:solidFill>
            </a:endParaRPr>
          </a:p>
        </p:txBody>
      </p:sp>
      <p:sp>
        <p:nvSpPr>
          <p:cNvPr id="78" name="Oval 17">
            <a:extLst>
              <a:ext uri="{FF2B5EF4-FFF2-40B4-BE49-F238E27FC236}">
                <a16:creationId xmlns:a16="http://schemas.microsoft.com/office/drawing/2014/main" xmlns="" id="{5320A387-C0C7-4E86-BE3C-C3EE4B76A984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3896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chemeClr val="bg1"/>
                </a:solidFill>
              </a:rPr>
              <a:t>3</a:t>
            </a:r>
            <a:endParaRPr lang="en-GB" sz="1500" b="1" dirty="0">
              <a:solidFill>
                <a:schemeClr val="bg1"/>
              </a:solidFill>
            </a:endParaRPr>
          </a:p>
        </p:txBody>
      </p:sp>
      <p:sp>
        <p:nvSpPr>
          <p:cNvPr id="79" name="Oval 18">
            <a:extLst>
              <a:ext uri="{FF2B5EF4-FFF2-40B4-BE49-F238E27FC236}">
                <a16:creationId xmlns:a16="http://schemas.microsoft.com/office/drawing/2014/main" xmlns="" id="{5CF758B5-932E-4880-A2B3-35443F0A2BD8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4191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chemeClr val="bg1"/>
                </a:solidFill>
              </a:rPr>
              <a:t>1</a:t>
            </a:r>
            <a:endParaRPr lang="en-GB" sz="1500" b="1" dirty="0">
              <a:solidFill>
                <a:schemeClr val="bg1"/>
              </a:solidFill>
            </a:endParaRPr>
          </a:p>
        </p:txBody>
      </p:sp>
      <p:sp>
        <p:nvSpPr>
          <p:cNvPr id="80" name="Oval 19">
            <a:extLst>
              <a:ext uri="{FF2B5EF4-FFF2-40B4-BE49-F238E27FC236}">
                <a16:creationId xmlns:a16="http://schemas.microsoft.com/office/drawing/2014/main" xmlns="" id="{B8C48BEB-81D3-4E57-A019-DB2649FB9A78}"/>
              </a:ext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93741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chemeClr val="bg1"/>
                </a:solidFill>
              </a:rPr>
              <a:t>4</a:t>
            </a:r>
            <a:endParaRPr lang="en-GB" sz="15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089" y="150131"/>
            <a:ext cx="11877429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48" name="Text Placeholder 37"/>
          <p:cNvSpPr>
            <a:spLocks noGrp="1"/>
          </p:cNvSpPr>
          <p:nvPr>
            <p:ph type="body" sz="quarter" idx="11"/>
          </p:nvPr>
        </p:nvSpPr>
        <p:spPr>
          <a:xfrm>
            <a:off x="3446825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Text Placeholder 37"/>
          <p:cNvSpPr>
            <a:spLocks noGrp="1"/>
          </p:cNvSpPr>
          <p:nvPr>
            <p:ph type="body" sz="quarter" idx="12"/>
          </p:nvPr>
        </p:nvSpPr>
        <p:spPr>
          <a:xfrm>
            <a:off x="346898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Text Placeholder 37"/>
          <p:cNvSpPr>
            <a:spLocks noGrp="1"/>
          </p:cNvSpPr>
          <p:nvPr>
            <p:ph type="body" sz="quarter" idx="13"/>
          </p:nvPr>
        </p:nvSpPr>
        <p:spPr>
          <a:xfrm>
            <a:off x="6445793" y="5739360"/>
            <a:ext cx="2864659" cy="963949"/>
          </a:xfrm>
          <a:prstGeom prst="rect">
            <a:avLst/>
          </a:prstGeom>
        </p:spPr>
        <p:txBody>
          <a:bodyPr lIns="53993" tIns="0" rIns="0" bIns="0"/>
          <a:lstStyle>
            <a:lvl1pPr marL="0" indent="504436"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3468985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2" name="Text Placeholder 37"/>
          <p:cNvSpPr>
            <a:spLocks noGrp="1"/>
          </p:cNvSpPr>
          <p:nvPr>
            <p:ph type="body" sz="quarter" idx="15"/>
          </p:nvPr>
        </p:nvSpPr>
        <p:spPr>
          <a:xfrm>
            <a:off x="6431566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Text Placeholder 37"/>
          <p:cNvSpPr>
            <a:spLocks noGrp="1"/>
          </p:cNvSpPr>
          <p:nvPr>
            <p:ph type="body" sz="quarter" idx="16"/>
          </p:nvPr>
        </p:nvSpPr>
        <p:spPr>
          <a:xfrm>
            <a:off x="6431571" y="2636797"/>
            <a:ext cx="2878880" cy="1105066"/>
          </a:xfrm>
          <a:prstGeom prst="rect">
            <a:avLst/>
          </a:prstGeom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4" name="Text Placeholder 37"/>
          <p:cNvSpPr>
            <a:spLocks noGrp="1"/>
          </p:cNvSpPr>
          <p:nvPr>
            <p:ph type="body" sz="quarter" idx="17"/>
          </p:nvPr>
        </p:nvSpPr>
        <p:spPr>
          <a:xfrm>
            <a:off x="6431566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Text Placeholder 37"/>
          <p:cNvSpPr>
            <a:spLocks noGrp="1"/>
          </p:cNvSpPr>
          <p:nvPr>
            <p:ph type="body" sz="quarter" idx="18"/>
          </p:nvPr>
        </p:nvSpPr>
        <p:spPr>
          <a:xfrm>
            <a:off x="47630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8" name="Text Placeholder 37"/>
          <p:cNvSpPr>
            <a:spLocks noGrp="1"/>
          </p:cNvSpPr>
          <p:nvPr>
            <p:ph type="body" sz="quarter" idx="19"/>
          </p:nvPr>
        </p:nvSpPr>
        <p:spPr>
          <a:xfrm>
            <a:off x="476309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Text Placeholder 37"/>
          <p:cNvSpPr>
            <a:spLocks noGrp="1"/>
          </p:cNvSpPr>
          <p:nvPr>
            <p:ph type="body" sz="quarter" idx="20"/>
          </p:nvPr>
        </p:nvSpPr>
        <p:spPr>
          <a:xfrm>
            <a:off x="9416313" y="2366093"/>
            <a:ext cx="2878880" cy="1375773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4" name="Text Placeholder 37"/>
          <p:cNvSpPr>
            <a:spLocks noGrp="1"/>
          </p:cNvSpPr>
          <p:nvPr>
            <p:ph type="body" sz="quarter" idx="21"/>
          </p:nvPr>
        </p:nvSpPr>
        <p:spPr>
          <a:xfrm>
            <a:off x="9416313" y="4144186"/>
            <a:ext cx="2878880" cy="99255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5" name="Text Placeholder 37"/>
          <p:cNvSpPr>
            <a:spLocks noGrp="1"/>
          </p:cNvSpPr>
          <p:nvPr>
            <p:ph type="body" sz="quarter" idx="22"/>
          </p:nvPr>
        </p:nvSpPr>
        <p:spPr>
          <a:xfrm>
            <a:off x="9416313" y="5488794"/>
            <a:ext cx="2878880" cy="1214511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6" name="Text Placeholder 37"/>
          <p:cNvSpPr>
            <a:spLocks noGrp="1"/>
          </p:cNvSpPr>
          <p:nvPr>
            <p:ph type="body" sz="quarter" idx="23"/>
          </p:nvPr>
        </p:nvSpPr>
        <p:spPr>
          <a:xfrm>
            <a:off x="9416313" y="6976516"/>
            <a:ext cx="2878880" cy="963949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1" name="Text Placeholder 37"/>
          <p:cNvSpPr>
            <a:spLocks noGrp="1"/>
          </p:cNvSpPr>
          <p:nvPr>
            <p:ph type="body" sz="quarter" idx="24"/>
          </p:nvPr>
        </p:nvSpPr>
        <p:spPr>
          <a:xfrm>
            <a:off x="454152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2" name="Text Placeholder 37"/>
          <p:cNvSpPr>
            <a:spLocks noGrp="1"/>
          </p:cNvSpPr>
          <p:nvPr>
            <p:ph type="body" sz="quarter" idx="25"/>
          </p:nvPr>
        </p:nvSpPr>
        <p:spPr>
          <a:xfrm>
            <a:off x="3441541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3" name="Text Placeholder 37"/>
          <p:cNvSpPr>
            <a:spLocks noGrp="1"/>
          </p:cNvSpPr>
          <p:nvPr>
            <p:ph type="body" sz="quarter" idx="26"/>
          </p:nvPr>
        </p:nvSpPr>
        <p:spPr>
          <a:xfrm>
            <a:off x="6428930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4" name="Text Placeholder 37"/>
          <p:cNvSpPr>
            <a:spLocks noGrp="1"/>
          </p:cNvSpPr>
          <p:nvPr>
            <p:ph type="body" sz="quarter" idx="27"/>
          </p:nvPr>
        </p:nvSpPr>
        <p:spPr>
          <a:xfrm>
            <a:off x="9416319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246662" algn="l" defTabSz="12799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153072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4C496D5D-2F85-4409-B44E-9D10A4B57B4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545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2A8EDE8F-F6ED-4F21-83F2-E36FE38752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BC80311D-23F1-4190-8956-88966E3D693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545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50479B34-FFAF-4F74-9601-28C1B2E285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3C6E2D71-BD69-4434-A688-80FFD20281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456" name="think-cell Slide" r:id="rId8" imgW="360" imgH="360" progId="">
              <p:embed/>
            </p:oleObj>
          </a:graphicData>
        </a:graphic>
      </p:graphicFrame>
      <p:sp>
        <p:nvSpPr>
          <p:cNvPr id="8" name="Rectangle 2" hidden="1">
            <a:extLst>
              <a:ext uri="{FF2B5EF4-FFF2-40B4-BE49-F238E27FC236}">
                <a16:creationId xmlns:a16="http://schemas.microsoft.com/office/drawing/2014/main" xmlns="" id="{6A0FC56B-D5A3-4CE8-9EC0-74FC04323F6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971413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99B2D426-F4DD-4D70-A575-AA9E9C49C8A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6478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FBFA05B1-5C43-4B1F-8D56-E93C705FD4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0F9ABBFE-4BA4-40A5-8CB9-E613B29B674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6479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A6537371-EE4D-4C30-BE58-FC803ECF7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49F31ADE-FEB4-4B9F-B064-0568547BEB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6480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817ED8A1-5D9F-4C40-B653-46FC2C77860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341060A-7FD5-4B7B-A516-A770FF4CD6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A38C014-1866-4F9F-8DB6-A5B74AC57F63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725528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2C091A60-EEFF-43FE-B489-C0F7C0A298A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502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3E352663-5A84-4EED-8040-1D2DEC2025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24EEB996-8249-43BA-A6B6-AA42185728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503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4EAE49F5-B1BA-4E11-9988-CB2511C536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44763466-1610-4B38-A144-83D05942FAC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504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52EDAA0B-3C9A-498D-BC22-86A4086FD9F2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E320EA4F-7158-4549-923C-9C8F436407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70C758A-47DE-4A4F-939E-35EC7F5E0A7A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900313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3F31DAF9-6618-47B9-AF65-7B14C74B4B3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2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ADA38A78-8A46-4051-A8D8-B41BBEF7A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71F553D8-9F33-4667-ADB8-766EAB919EE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2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D73EE356-3ED8-4FBD-9126-8E3D6D8897A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E9966D45-AE32-4EE5-B150-E28D4F3ABA5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28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6E2B4C5C-C4FB-40D1-9D46-DC570255B90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37B07E11-56F5-4941-BBE6-E5CB303F15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0FE0C5-D7CE-42CA-A59A-69AC194AD6A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420605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E3F40FC4-800A-4624-9DF5-A875FB3ACDF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550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9923CC51-D24A-4353-B39D-8456F929FA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232">
            <a:extLst>
              <a:ext uri="{FF2B5EF4-FFF2-40B4-BE49-F238E27FC236}">
                <a16:creationId xmlns:a16="http://schemas.microsoft.com/office/drawing/2014/main" xmlns="" id="{DDDA71F8-94AE-4B82-8C03-B5EF449D354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551" name="think-cell Slide" r:id="rId7" imgW="360" imgH="360" progId="">
              <p:embed/>
            </p:oleObj>
          </a:graphicData>
        </a:graphic>
      </p:graphicFrame>
      <p:sp>
        <p:nvSpPr>
          <p:cNvPr id="6" name="Rectangle 8" hidden="1">
            <a:extLst>
              <a:ext uri="{FF2B5EF4-FFF2-40B4-BE49-F238E27FC236}">
                <a16:creationId xmlns:a16="http://schemas.microsoft.com/office/drawing/2014/main" xmlns="" id="{1EF9584A-661A-4F64-8BD7-6E80FE823D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>
            <a:extLst>
              <a:ext uri="{FF2B5EF4-FFF2-40B4-BE49-F238E27FC236}">
                <a16:creationId xmlns:a16="http://schemas.microsoft.com/office/drawing/2014/main" xmlns="" id="{7BB2BCD7-63E0-45B2-BC95-762027A0EB0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552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4196E38E-0D26-4200-93BC-C9658E0A8F5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4D6B2C77-51E5-4076-B968-F6B92E53D25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8B9D70-A173-45A4-B842-5DF2484A6F1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858730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7AD10A7A-BB02-49B3-AC74-FE7198B5779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3166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7EB12728-F633-414B-A342-E19DDBE388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B8949A46-60B5-4B6C-9796-52332A5EC39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3167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89620B28-3A85-4655-A2A3-ABB8CF464D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FF1AA7F1-BE13-4A83-BF24-A68ABAE144E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68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B54A7163-313D-45A7-9196-3E3C927E96C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90" indent="0" algn="ctr">
              <a:buNone/>
              <a:defRPr sz="2800"/>
            </a:lvl2pPr>
            <a:lvl3pPr marL="1279980" indent="0" algn="ctr">
              <a:buNone/>
              <a:defRPr sz="2500"/>
            </a:lvl3pPr>
            <a:lvl4pPr marL="1919968" indent="0" algn="ctr">
              <a:buNone/>
              <a:defRPr sz="2200"/>
            </a:lvl4pPr>
            <a:lvl5pPr marL="2559957" indent="0" algn="ctr">
              <a:buNone/>
              <a:defRPr sz="2200"/>
            </a:lvl5pPr>
            <a:lvl6pPr marL="3199947" indent="0" algn="ctr">
              <a:buNone/>
              <a:defRPr sz="2200"/>
            </a:lvl6pPr>
            <a:lvl7pPr marL="3839935" indent="0" algn="ctr">
              <a:buNone/>
              <a:defRPr sz="2200"/>
            </a:lvl7pPr>
            <a:lvl8pPr marL="4479925" indent="0" algn="ctr">
              <a:buNone/>
              <a:defRPr sz="2200"/>
            </a:lvl8pPr>
            <a:lvl9pPr marL="5119915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A416A4AD-5654-4C1F-BA52-5F924E0505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10ED69-6BBF-418C-85BB-3BEF175D5324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827B0394-7EE8-4B76-9ED7-B193554303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35050D68-C3F2-4DF1-BB9D-30BB7D836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21790C-4A1A-4BDD-A70B-2D3C7BD1AB74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91139076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F3237A7C-68F7-4244-AEC3-C6C3FA12965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057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ED4AFAF0-7759-44E4-BF6C-D19ED33898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FFA7C2AB-B268-4470-B450-B1B8F90E726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057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04765D43-CB42-4041-9A0D-746C4534927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BCAA906E-FF9D-4EDD-818E-92F438734CD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0576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27251441-6481-4951-8EEB-BA598CE236E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3913A27-C7A9-4427-8175-AAF78E38A1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AFD944-CB1F-460C-B2ED-316C27E4F4C9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900032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2AD72E35-760C-4465-B402-847A69D55A5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1598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D86E4511-1864-414B-ADA6-E1496526F1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BBBF4833-7995-4590-BA25-1AD5385F991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1599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F3EA4C13-6745-49C6-8E4C-B5C5880C36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66B8BEC5-F51D-42B4-87ED-AC2657DC69F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3175"/>
        </p:xfrm>
        <a:graphic>
          <a:graphicData uri="http://schemas.openxmlformats.org/presentationml/2006/ole">
            <p:oleObj spid="_x0000_s21600" name="think-cell Slide" r:id="rId8" imgW="360" imgH="360" progId="">
              <p:embed/>
            </p:oleObj>
          </a:graphicData>
        </a:graphic>
      </p:graphicFrame>
      <p:sp>
        <p:nvSpPr>
          <p:cNvPr id="9" name="Rectangle 12" hidden="1">
            <a:extLst>
              <a:ext uri="{FF2B5EF4-FFF2-40B4-BE49-F238E27FC236}">
                <a16:creationId xmlns:a16="http://schemas.microsoft.com/office/drawing/2014/main" xmlns="" id="{C645949F-065B-4907-9184-59AFEE568AE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34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BDF2F39-3866-4F7C-A583-4EB2CDEA6EF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4500" y="254000"/>
            <a:ext cx="11912600" cy="10636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5571" eaLnBrk="1" hangingPunct="1">
              <a:defRPr/>
            </a:pPr>
            <a:endParaRPr lang="ru-RU" altLang="ru-RU" sz="250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4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4500" y="1813565"/>
            <a:ext cx="12048173" cy="4716145"/>
          </a:xfrm>
        </p:spPr>
        <p:txBody>
          <a:bodyPr/>
          <a:lstStyle>
            <a:lvl1pPr>
              <a:defRPr sz="3400"/>
            </a:lvl1pPr>
            <a:lvl2pPr marL="959985" indent="-319995">
              <a:buFont typeface="Arial" panose="020B0604020202020204" pitchFamily="34" charset="0"/>
              <a:buChar char="−"/>
              <a:defRPr sz="2800"/>
            </a:lvl2pPr>
            <a:lvl3pPr marL="1599973" indent="-319995">
              <a:buFont typeface="Wingdings" panose="05000000000000000000" pitchFamily="2" charset="2"/>
              <a:buChar char="§"/>
              <a:defRPr sz="2500"/>
            </a:lvl3pPr>
            <a:lvl4pPr marL="2239962" indent="-319995">
              <a:buFont typeface="Courier New" panose="02070309020205020404" pitchFamily="49" charset="0"/>
              <a:buChar char="o"/>
              <a:defRPr sz="2200"/>
            </a:lvl4pPr>
            <a:lvl5pPr marL="2879952" indent="-319995">
              <a:buFont typeface="Wingdings" panose="05000000000000000000" pitchFamily="2" charset="2"/>
              <a:buChar char="ü"/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AADEFF3A-2D75-4C22-9561-C475864F2F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21875" y="9074150"/>
            <a:ext cx="2879725" cy="511175"/>
          </a:xfrm>
        </p:spPr>
        <p:txBody>
          <a:bodyPr/>
          <a:lstStyle>
            <a:lvl1pPr>
              <a:defRPr b="1"/>
            </a:lvl1pPr>
          </a:lstStyle>
          <a:p>
            <a:fld id="{48F7329C-5318-4539-9109-DB1A68CA9A8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34296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>
            <a:extLst>
              <a:ext uri="{FF2B5EF4-FFF2-40B4-BE49-F238E27FC236}">
                <a16:creationId xmlns:a16="http://schemas.microsoft.com/office/drawing/2014/main" xmlns="" id="{DDDB668B-0FE9-4FAA-AEF9-1879A346F17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2622" name="think-cell Slide" r:id="rId5" imgW="360" imgH="360" progId="">
              <p:embed/>
            </p:oleObj>
          </a:graphicData>
        </a:graphic>
      </p:graphicFrame>
      <p:sp>
        <p:nvSpPr>
          <p:cNvPr id="9" name="Rectangle 7" hidden="1">
            <a:extLst>
              <a:ext uri="{FF2B5EF4-FFF2-40B4-BE49-F238E27FC236}">
                <a16:creationId xmlns:a16="http://schemas.microsoft.com/office/drawing/2014/main" xmlns="" id="{BFE20F6B-3307-4AE9-BF56-3B3EA619B5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>
            <a:extLst>
              <a:ext uri="{FF2B5EF4-FFF2-40B4-BE49-F238E27FC236}">
                <a16:creationId xmlns:a16="http://schemas.microsoft.com/office/drawing/2014/main" xmlns="" id="{EFE19C2C-978F-4D5F-8642-DA3FDE3F70C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2623" name="think-cell Slide" r:id="rId6" imgW="360" imgH="360" progId="">
              <p:embed/>
            </p:oleObj>
          </a:graphicData>
        </a:graphic>
      </p:graphicFrame>
      <p:sp>
        <p:nvSpPr>
          <p:cNvPr id="13" name="Rectangle 7" hidden="1">
            <a:extLst>
              <a:ext uri="{FF2B5EF4-FFF2-40B4-BE49-F238E27FC236}">
                <a16:creationId xmlns:a16="http://schemas.microsoft.com/office/drawing/2014/main" xmlns="" id="{625BD278-9CEA-4594-924D-B4814BBA9C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02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>
            <a:extLst>
              <a:ext uri="{FF2B5EF4-FFF2-40B4-BE49-F238E27FC236}">
                <a16:creationId xmlns:a16="http://schemas.microsoft.com/office/drawing/2014/main" xmlns="" id="{0E416FBD-ED0B-452A-AC27-CA797816DC0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22624" name="think-cell Slide" r:id="rId7" imgW="360" imgH="360" progId="">
              <p:embed/>
            </p:oleObj>
          </a:graphicData>
        </a:graphic>
      </p:graphicFrame>
      <p:cxnSp>
        <p:nvCxnSpPr>
          <p:cNvPr id="17" name="Прямая соединительная линия 13">
            <a:extLst>
              <a:ext uri="{FF2B5EF4-FFF2-40B4-BE49-F238E27FC236}">
                <a16:creationId xmlns:a16="http://schemas.microsoft.com/office/drawing/2014/main" xmlns="" id="{D41C03B3-1FA7-420D-A8D9-E1D418815C51}"/>
              </a:ext>
            </a:extLst>
          </p:cNvPr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ACDFF66-2335-4EDB-BED5-E26F5CAB7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11" y="137023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2037" y="1913407"/>
            <a:ext cx="5157453" cy="3841338"/>
          </a:xfrm>
        </p:spPr>
        <p:txBody>
          <a:bodyPr/>
          <a:lstStyle>
            <a:lvl1pPr marL="194713" indent="-194713">
              <a:buClr>
                <a:srgbClr val="830051"/>
              </a:buCl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7322039" y="1391044"/>
            <a:ext cx="5157454" cy="483204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5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96259" indent="0" algn="ctr">
              <a:buNone/>
              <a:defRPr sz="2200"/>
            </a:lvl2pPr>
            <a:lvl3pPr marL="992522" indent="0" algn="ctr">
              <a:buNone/>
              <a:defRPr sz="2000"/>
            </a:lvl3pPr>
            <a:lvl4pPr marL="1488781" indent="0" algn="ctr">
              <a:buNone/>
              <a:defRPr sz="1600"/>
            </a:lvl4pPr>
            <a:lvl5pPr marL="1985040" indent="0" algn="ctr">
              <a:buNone/>
              <a:defRPr sz="1600"/>
            </a:lvl5pPr>
            <a:lvl6pPr marL="2481302" indent="0" algn="ctr">
              <a:buNone/>
              <a:defRPr sz="1600"/>
            </a:lvl6pPr>
            <a:lvl7pPr marL="2977564" indent="0" algn="ctr">
              <a:buNone/>
              <a:defRPr sz="1600"/>
            </a:lvl7pPr>
            <a:lvl8pPr marL="3473821" indent="0" algn="ctr">
              <a:buNone/>
              <a:defRPr sz="1600"/>
            </a:lvl8pPr>
            <a:lvl9pPr marL="3970083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/>
          <a:lstStyle>
            <a:lvl1pPr marL="0" indent="0">
              <a:buNone/>
              <a:defRPr sz="13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62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75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xmlns="" id="{ED6E6ADA-AA15-4B22-BC81-7281AF4E513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D7A2007A-34B0-4B97-9A4C-4704670B6EC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xmlns="" id="{17F3AEA3-EDA9-4513-A053-28362A186D4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>
              <a:defRPr/>
            </a:lvl1pPr>
          </a:lstStyle>
          <a:p>
            <a:fld id="{E15062CD-0B05-4345-B31D-5B006E6F1BFA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="" xmlns:p14="http://schemas.microsoft.com/office/powerpoint/2010/main" val="1309837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68FB2B9A-DF0C-4F91-80D4-E5CFD1B99E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0719" name="think-cell Slide" r:id="rId5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8DB350C6-CFAC-4810-9CDF-13FDD0F218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CC3F4E3A-5318-4378-AC85-076F61E827A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0720" name="think-cell Slide" r:id="rId6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CEBAA273-BAC3-4D3C-82FA-BD4191DB7F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Рисунок 8">
            <a:extLst>
              <a:ext uri="{FF2B5EF4-FFF2-40B4-BE49-F238E27FC236}">
                <a16:creationId xmlns:a16="http://schemas.microsoft.com/office/drawing/2014/main" xmlns="" id="{AB299DEE-F33B-42A6-A572-236D5CD0B47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312738" y="2103438"/>
            <a:ext cx="12309475" cy="57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13">
            <a:extLst>
              <a:ext uri="{FF2B5EF4-FFF2-40B4-BE49-F238E27FC236}">
                <a16:creationId xmlns:a16="http://schemas.microsoft.com/office/drawing/2014/main" xmlns="" id="{2A36174A-1BE9-4AA4-83AB-C9531A11307C}"/>
              </a:ext>
            </a:extLst>
          </p:cNvPr>
          <p:cNvSpPr/>
          <p:nvPr userDrawn="1"/>
        </p:nvSpPr>
        <p:spPr>
          <a:xfrm>
            <a:off x="431800" y="2103438"/>
            <a:ext cx="9077325" cy="394970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0" y="2103208"/>
            <a:ext cx="8436761" cy="2635171"/>
          </a:xfrm>
        </p:spPr>
        <p:txBody>
          <a:bodyPr bIns="233966" anchor="b"/>
          <a:lstStyle>
            <a:lvl1pPr marL="574364" indent="0" algn="l">
              <a:defRPr sz="24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8" y="2555875"/>
            <a:ext cx="11961495" cy="6091873"/>
          </a:xfrm>
          <a:prstGeom prst="rect">
            <a:avLst/>
          </a:prstGeom>
        </p:spPr>
        <p:txBody>
          <a:bodyPr/>
          <a:lstStyle>
            <a:lvl1pPr marL="319995" indent="-319995" algn="l" defTabSz="1279980" rtl="0" eaLnBrk="1" latinLnBrk="0" hangingPunct="1">
              <a:lnSpc>
                <a:spcPct val="90000"/>
              </a:lnSpc>
              <a:spcBef>
                <a:spcPts val="1399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985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973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996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995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994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9931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9919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9910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2CAC4717-C382-41F9-B7B1-734EFC9794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4088" y="8899525"/>
            <a:ext cx="3119437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62FEFABE-C0FC-4B17-9759-858FD18FF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94225" y="8899525"/>
            <a:ext cx="4679950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A7EE857C-863A-4E43-9FAE-EDC87C3C4E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24C510-310D-44EA-8272-1196C033548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173940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AF96B583-EFCA-4218-A188-732639913A2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1774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0E1699E1-DAE2-4521-9D45-6553985CF6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1FF26E5F-9F64-4FC6-9431-0C83C35C42C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1775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6E84725C-8714-4531-AA99-08275C44C3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C334381B-5724-4B99-B684-A9CECEB78DA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776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2B521979-AB5C-4295-B417-3E3337AA644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90" indent="0" algn="ctr">
              <a:buNone/>
              <a:defRPr sz="2800"/>
            </a:lvl2pPr>
            <a:lvl3pPr marL="1279980" indent="0" algn="ctr">
              <a:buNone/>
              <a:defRPr sz="2500"/>
            </a:lvl3pPr>
            <a:lvl4pPr marL="1919968" indent="0" algn="ctr">
              <a:buNone/>
              <a:defRPr sz="2200"/>
            </a:lvl4pPr>
            <a:lvl5pPr marL="2559957" indent="0" algn="ctr">
              <a:buNone/>
              <a:defRPr sz="2200"/>
            </a:lvl5pPr>
            <a:lvl6pPr marL="3199947" indent="0" algn="ctr">
              <a:buNone/>
              <a:defRPr sz="2200"/>
            </a:lvl6pPr>
            <a:lvl7pPr marL="3839935" indent="0" algn="ctr">
              <a:buNone/>
              <a:defRPr sz="2200"/>
            </a:lvl7pPr>
            <a:lvl8pPr marL="4479925" indent="0" algn="ctr">
              <a:buNone/>
              <a:defRPr sz="2200"/>
            </a:lvl8pPr>
            <a:lvl9pPr marL="5119915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3C6B7CEA-2D8E-4DB5-86B6-615F110D5A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8951C-40B7-4B9D-B9E9-80EAAFAD304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FC935E60-E865-4B07-92AB-8E3A6E312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9EB1EB61-9227-4F48-A3CC-C055F5E3A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C76F32-788D-4D9F-856F-8FC0104D92AD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87405150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F35BE9E2-5359-4445-A1D1-3079A589CA6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2798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CF1B7DAA-4508-4521-9738-561A8EB58F4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E353D005-D1A1-41A2-AC36-93E9CCBB409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2799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A21B18B4-630A-4D27-A181-F9ACEC1E37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22A3155A-7D9A-470C-A64D-F6D57067A41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800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E19F4F67-424F-4CAE-B02B-0156E3EFA45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502B66E5-A63A-4DD1-B291-919CBADD2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29E6D2-D093-44CA-B5CE-BA50B5D626B9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B97F3ED4-C65A-4D88-AA0C-47E6CC893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977F2D92-11C8-40F5-A367-3C5F69B2C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2F7F0B-1327-455E-938F-9853D468587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132943642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1B5184DC-305A-4692-AD00-C9FE65CEF4B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3822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678C624E-F921-4D74-8B75-3B3C1992DE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3C0540BF-BFEC-4E91-B02E-5A966577717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3823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27779C70-33A8-491F-81D1-7B347807C3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36422BEF-5136-43BF-B007-5F7E6239900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3824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3A8FB2DC-00BE-4E24-B44C-96ED11A30AF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2" y="2393635"/>
            <a:ext cx="11041380" cy="3993832"/>
          </a:xfrm>
        </p:spPr>
        <p:txBody>
          <a:bodyPr anchor="b"/>
          <a:lstStyle>
            <a:lvl1pPr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2" y="6425250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  <a:lvl2pPr marL="6399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9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96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5995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19994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3993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7992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1991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10BAD846-695D-4197-ABC6-4A835B8E6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353F56-3585-469A-932D-C922EF655DCD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246EAB84-7C68-418E-B9A7-95007E719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CC747CF-8158-401A-8203-EFB1A7E64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3490D1-41B3-49CA-AB1B-5AA430A8FF2A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946542881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D1C0B31F-8C3D-494D-A84D-1FB35055BD0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4846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2AC9485A-2772-4950-BB3C-416A39C817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00A86B86-DBC0-47EC-A6D8-587E6077D8F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4847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61F68ACF-D319-473D-BB08-F640E3139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D65BA85D-FE32-4144-A775-32FADA18E03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4848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DC5B0E35-F0DA-4034-9E96-06207E84C4E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E99315D3-7D4A-4FCF-89F4-6CB71848BC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5B4848-DCF7-4199-BEF3-66A721872A77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38B7EE-69E0-48B2-94FF-EE0C4FF58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E120DE5B-1E26-4B8B-B9C1-F26846DA3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A6E252C-E829-4E26-BF41-908CF095BBAD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333576299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>
            <a:extLst>
              <a:ext uri="{FF2B5EF4-FFF2-40B4-BE49-F238E27FC236}">
                <a16:creationId xmlns:a16="http://schemas.microsoft.com/office/drawing/2014/main" xmlns="" id="{4FC65382-A03B-4E5E-9229-ECE462A60D1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5870" name="think-cell Slide" r:id="rId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C529B33D-5D12-49D7-BE18-984F735FC8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3">
            <a:extLst>
              <a:ext uri="{FF2B5EF4-FFF2-40B4-BE49-F238E27FC236}">
                <a16:creationId xmlns:a16="http://schemas.microsoft.com/office/drawing/2014/main" xmlns="" id="{C0B7C44E-09CB-4A79-8C33-675C7B44F26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5871" name="think-cell Slide" r:id="rId7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210BDDE2-042D-431A-9E95-62984576C7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1" name="Object 117">
            <a:extLst>
              <a:ext uri="{FF2B5EF4-FFF2-40B4-BE49-F238E27FC236}">
                <a16:creationId xmlns:a16="http://schemas.microsoft.com/office/drawing/2014/main" xmlns="" id="{EEF68412-F7F6-441A-AAF4-CCFF2F179D0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5872" name="think-cell Slide" r:id="rId8" imgW="360" imgH="360" progId="">
              <p:embed/>
            </p:oleObj>
          </a:graphicData>
        </a:graphic>
      </p:graphicFrame>
      <p:sp>
        <p:nvSpPr>
          <p:cNvPr id="12" name="Rectangle 9" hidden="1">
            <a:extLst>
              <a:ext uri="{FF2B5EF4-FFF2-40B4-BE49-F238E27FC236}">
                <a16:creationId xmlns:a16="http://schemas.microsoft.com/office/drawing/2014/main" xmlns="" id="{C8C3BA56-D7FA-4406-A342-5CF2097EC36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A2EAC121-FEBC-49AD-929E-77447DA77B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5A836-24A9-47F3-A4AA-E56B1821BD3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xmlns="" id="{D45B2DF6-0CC5-4D5A-80D6-C3999F9E7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xmlns="" id="{53B431BB-7EC1-4CCC-AE08-6DDC77E87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F7C51F-7186-4FEE-A7B1-388697BDB06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75554086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0119A72D-D9EE-466A-89BF-64085FEB033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689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324DC5F2-2BDF-44E4-B0C7-D13FBD0FBD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E3798420-442B-4A05-B35D-3278FE0DB18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689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9EAF6DCD-8BA6-45F3-ADF3-375C0642C0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29510F5F-F9B4-4DBD-ACDB-AD9067CFD85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6896" name="think-cell Slide" r:id="rId8" imgW="360" imgH="360" progId="">
              <p:embed/>
            </p:oleObj>
          </a:graphicData>
        </a:graphic>
      </p:graphicFrame>
      <p:sp>
        <p:nvSpPr>
          <p:cNvPr id="8" name="Rectangle 5" hidden="1">
            <a:extLst>
              <a:ext uri="{FF2B5EF4-FFF2-40B4-BE49-F238E27FC236}">
                <a16:creationId xmlns:a16="http://schemas.microsoft.com/office/drawing/2014/main" xmlns="" id="{D56C9FAC-45B5-4045-AA56-60802FD589C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EB65B8EC-FE29-4D7E-B936-391896404C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AB7038-DE4F-4115-BAA0-FC3A4FABDDD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CEF5321E-9842-4A98-A1F3-EAF5A4F95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CCD44FD4-1DFC-4411-A9FF-D9657F744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74E0581-D447-4BBC-AB62-50B1A84DE0B9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231818654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D264A679-9BD7-4AC3-88F2-66111379835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4190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60D4D336-4E4C-49F3-B6BF-DC3C12F74B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F24F11C3-A998-4E82-974E-1B06A5CDD5A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4191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1552CD04-BC36-492F-A477-49AD4BFFA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C5CD90AA-494B-4A37-9BBA-94B463E0B3D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92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FFF1DFE9-7C0D-4E19-8676-9BBAD733304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ADCEED51-ED85-4DC1-8E1A-7B3D43FA5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D7566-BE1B-419A-AF0B-317C21698652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2980A1D7-E2D3-4A81-80E4-E0FB96B3AD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52FC8EE-E356-437F-B0A9-EF7924AD4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423D00-4924-439E-9BF0-7B222BD6A4EB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477138993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A2886A53-CA78-4F27-90E3-3A361E150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14B3F5-FCE4-481B-906D-6FAF82E89FE7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DFA89D64-FC08-4D14-B5E5-F30AB7F28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3EB78B50-9A3B-4D89-A739-872AF5B26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B399EA-409F-4CC0-855A-188879ED9052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988934553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322644A1-3CB8-4063-BE0D-C8DA0AD7565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7918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74B5C9E8-DFC6-4DEF-8BB4-FE81563EB8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CED8ADFD-6153-4E71-B0DE-6945A2F0F2E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7919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4E5339BC-CFB4-4FB5-9BD1-38761DCB14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BB3AE8ED-D99C-40C4-B807-2DA8251C2B4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7920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B67B48E4-05F9-4700-A1EA-860FD89596F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8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A679BC46-EE15-4AC8-AC32-F65C68EE7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41F10-F0AE-465B-A5BE-1C1CE61E7BAD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6496E811-A450-47C3-93B9-E4303DDE54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9B83E700-1263-4D74-B1F0-4578E7832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5D845D-16D5-463D-AD8A-6A32908B022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692668017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76E4CB22-A52A-4C16-A9E4-227DA86A17C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8942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09B15B74-35E9-4E14-A0CA-87E90E7A58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B67D62BE-71BA-41E4-A0A5-3B91A6DF3B1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8943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4AB02C64-EEC5-4CEF-92E3-3EAD99CB3C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6C0BB91C-C8FF-4C6C-9111-BDE9338A090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8944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91FDF0BE-7A39-419C-964B-0F4488D21F0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8"/>
            <a:ext cx="6480810" cy="6823075"/>
          </a:xfrm>
        </p:spPr>
        <p:txBody>
          <a:bodyPr rtlCol="0">
            <a:normAutofit/>
          </a:bodyPr>
          <a:lstStyle>
            <a:lvl1pPr marL="0" indent="0">
              <a:buNone/>
              <a:defRPr sz="4500"/>
            </a:lvl1pPr>
            <a:lvl2pPr marL="639990" indent="0">
              <a:buNone/>
              <a:defRPr sz="3900"/>
            </a:lvl2pPr>
            <a:lvl3pPr marL="1279980" indent="0">
              <a:buNone/>
              <a:defRPr sz="3400"/>
            </a:lvl3pPr>
            <a:lvl4pPr marL="1919968" indent="0">
              <a:buNone/>
              <a:defRPr sz="2800"/>
            </a:lvl4pPr>
            <a:lvl5pPr marL="2559957" indent="0">
              <a:buNone/>
              <a:defRPr sz="2800"/>
            </a:lvl5pPr>
            <a:lvl6pPr marL="3199947" indent="0">
              <a:buNone/>
              <a:defRPr sz="2800"/>
            </a:lvl6pPr>
            <a:lvl7pPr marL="3839935" indent="0">
              <a:buNone/>
              <a:defRPr sz="2800"/>
            </a:lvl7pPr>
            <a:lvl8pPr marL="4479925" indent="0">
              <a:buNone/>
              <a:defRPr sz="2800"/>
            </a:lvl8pPr>
            <a:lvl9pPr marL="5119915" indent="0">
              <a:buNone/>
              <a:defRPr sz="28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ADF5E3AA-EA9B-4EF6-A0AE-31AAE7386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D631E-6868-40CF-BD3B-653C99D94DB5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6C4F87D6-8174-48D7-8BAC-A888833AB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59FBF26-78DC-4B6F-BD79-F784DEE9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BB3CD2-3F7F-4097-838F-B800682AC4C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209896837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350AC96B-0739-4EAB-8E23-A50B504EF93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9966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658518AD-6263-4C28-A0ED-63841F6A2D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DC2CDAB3-7D1F-4CA8-B142-2B310E2873F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9967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34529169-CD4C-4D7B-BCF1-1A2E99386F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0779FBC3-9EBA-423E-A182-5B1A12EA1CD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9968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D5145367-2F73-41A8-B7B9-528FE426C1F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157E15C4-3424-49E1-83F6-AEB482E97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87206F-E5DA-481D-A270-9F4009A3B5F9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3D03CB50-8D83-478A-8AC7-D787AAC7F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CF68B33B-C495-47F1-926B-B0058BF1D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3BA552-9F17-4593-AC61-C42C4A7DA92D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189277271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370DE33C-71C3-45D3-A185-190CEB6B513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0990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28FC876F-54B9-4E83-8266-DC864848839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45CF14DE-A659-42FB-95D8-12C397B9A0B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0991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3F417775-7E9B-4D07-8E04-EDE0B9BA8F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59DEBB93-F02C-481C-82A7-9D23DF47F29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0992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CAC0030E-02F9-43D2-83CF-73F81EE58CE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4DA1D970-0471-4CC9-844A-A58D40FDF5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246B7F-C415-4C05-A0D8-4F192AE3AD86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36076DBE-6171-4642-B251-B5D863C13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A3AC34BC-43A8-456F-9D5D-3F84EC51F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3501BB-2BE4-4B5B-85E7-F9B206C52F5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924209493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33C591E6-6C27-4B2E-B6EA-F6F87A0768F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201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EAFEFCA1-B92E-4655-9D81-005A8AB855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E3C93741-F125-46F3-8507-62E72CB0277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201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9CAB37F8-61D6-4501-B83E-169FBD6CA1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7655969F-AC17-4137-B282-67C7A4D59F1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2016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E873393E-ACAE-4EA4-9B0F-1D1CA217F69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9477" y="1016649"/>
            <a:ext cx="11042651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8FBD497A-4DC2-43DC-B504-F33E6AC72EA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FC34C92-66E5-473B-B96A-69AFD7DDD58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771698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>
            <a:extLst>
              <a:ext uri="{FF2B5EF4-FFF2-40B4-BE49-F238E27FC236}">
                <a16:creationId xmlns:a16="http://schemas.microsoft.com/office/drawing/2014/main" xmlns="" id="{E9D7C9CC-997B-49C0-8744-2ED33199BF1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3038" name="think-cell Slide" r:id="rId10" imgW="360" imgH="360" progId="">
              <p:embed/>
            </p:oleObj>
          </a:graphicData>
        </a:graphic>
      </p:graphicFrame>
      <p:sp>
        <p:nvSpPr>
          <p:cNvPr id="21" name="Rectangle 7" hidden="1">
            <a:extLst>
              <a:ext uri="{FF2B5EF4-FFF2-40B4-BE49-F238E27FC236}">
                <a16:creationId xmlns:a16="http://schemas.microsoft.com/office/drawing/2014/main" xmlns="" id="{3E2CE69E-DE88-4A04-B99C-4505C38C09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3">
            <a:extLst>
              <a:ext uri="{FF2B5EF4-FFF2-40B4-BE49-F238E27FC236}">
                <a16:creationId xmlns:a16="http://schemas.microsoft.com/office/drawing/2014/main" xmlns="" id="{051460B6-CBD1-4B40-9068-1DE04E135B2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3039" name="think-cell Slide" r:id="rId11" imgW="360" imgH="360" progId="">
              <p:embed/>
            </p:oleObj>
          </a:graphicData>
        </a:graphic>
      </p:graphicFrame>
      <p:sp>
        <p:nvSpPr>
          <p:cNvPr id="23" name="Rectangle 7" hidden="1">
            <a:extLst>
              <a:ext uri="{FF2B5EF4-FFF2-40B4-BE49-F238E27FC236}">
                <a16:creationId xmlns:a16="http://schemas.microsoft.com/office/drawing/2014/main" xmlns="" id="{C092601E-961F-40C4-A55F-49F8BF9D53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4" name="Object 117">
            <a:extLst>
              <a:ext uri="{FF2B5EF4-FFF2-40B4-BE49-F238E27FC236}">
                <a16:creationId xmlns:a16="http://schemas.microsoft.com/office/drawing/2014/main" xmlns="" id="{DF700DBE-83C1-44A5-8C17-DB4C323A2E7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3040" name="think-cell Slide" r:id="rId12" imgW="360" imgH="360" progId="">
              <p:embed/>
            </p:oleObj>
          </a:graphicData>
        </a:graphic>
      </p:graphicFrame>
      <p:sp>
        <p:nvSpPr>
          <p:cNvPr id="25" name="Rectangle 6" hidden="1">
            <a:extLst>
              <a:ext uri="{FF2B5EF4-FFF2-40B4-BE49-F238E27FC236}">
                <a16:creationId xmlns:a16="http://schemas.microsoft.com/office/drawing/2014/main" xmlns="" id="{A61D9293-BD42-4F09-AD2D-4669F5FB7C2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>
                <a16:creationId xmlns:a16="http://schemas.microsoft.com/office/drawing/2014/main" xmlns="" id="{C082888A-A8DB-449A-9A08-6F123B977B1E}"/>
              </a:ext>
            </a:extLst>
          </p:cNvPr>
          <p:cNvSpPr/>
          <p:nvPr userDrawn="1"/>
        </p:nvSpPr>
        <p:spPr>
          <a:xfrm>
            <a:off x="461963" y="1881188"/>
            <a:ext cx="2922587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7" name="Rectangle 21">
            <a:extLst>
              <a:ext uri="{FF2B5EF4-FFF2-40B4-BE49-F238E27FC236}">
                <a16:creationId xmlns:a16="http://schemas.microsoft.com/office/drawing/2014/main" xmlns="" id="{82C33A96-536F-4E6C-8742-6962522B8479}"/>
              </a:ext>
            </a:extLst>
          </p:cNvPr>
          <p:cNvSpPr/>
          <p:nvPr userDrawn="1"/>
        </p:nvSpPr>
        <p:spPr>
          <a:xfrm>
            <a:off x="34464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>
                <a16:creationId xmlns:a16="http://schemas.microsoft.com/office/drawing/2014/main" xmlns="" id="{D218D151-91CB-47DD-A4A5-D85FB01A52C1}"/>
              </a:ext>
            </a:extLst>
          </p:cNvPr>
          <p:cNvSpPr/>
          <p:nvPr userDrawn="1"/>
        </p:nvSpPr>
        <p:spPr>
          <a:xfrm>
            <a:off x="64309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9" name="Flowchart: Off-page Connector 13">
            <a:extLst>
              <a:ext uri="{FF2B5EF4-FFF2-40B4-BE49-F238E27FC236}">
                <a16:creationId xmlns:a16="http://schemas.microsoft.com/office/drawing/2014/main" xmlns="" id="{17EB2B0A-9CE1-43A2-8639-2A8C57C0A36C}"/>
              </a:ext>
            </a:extLst>
          </p:cNvPr>
          <p:cNvSpPr/>
          <p:nvPr userDrawn="1"/>
        </p:nvSpPr>
        <p:spPr>
          <a:xfrm>
            <a:off x="34464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Заделы региона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0" name="Flowchart: Off-page Connector 14">
            <a:extLst>
              <a:ext uri="{FF2B5EF4-FFF2-40B4-BE49-F238E27FC236}">
                <a16:creationId xmlns:a16="http://schemas.microsoft.com/office/drawing/2014/main" xmlns="" id="{8D2912A2-7BF3-49A5-934F-24293AD3B1F2}"/>
              </a:ext>
            </a:extLst>
          </p:cNvPr>
          <p:cNvSpPr/>
          <p:nvPr userDrawn="1"/>
        </p:nvSpPr>
        <p:spPr>
          <a:xfrm>
            <a:off x="64309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Тренды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D09672E-4B26-4FBE-97BF-60BEEF90E168}"/>
              </a:ext>
            </a:extLst>
          </p:cNvPr>
          <p:cNvSpPr txBox="1"/>
          <p:nvPr userDrawn="1"/>
        </p:nvSpPr>
        <p:spPr>
          <a:xfrm>
            <a:off x="461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1.1. Ключевые показате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82C8A0A-8118-4769-A928-555C4F0005C6}"/>
              </a:ext>
            </a:extLst>
          </p:cNvPr>
          <p:cNvSpPr txBox="1"/>
          <p:nvPr userDrawn="1"/>
        </p:nvSpPr>
        <p:spPr>
          <a:xfrm>
            <a:off x="461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1.2. Связанные отрас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106A077D-447E-4221-8708-8F91818F90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207486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prstClr val="white"/>
                </a:solidFill>
              </a:rPr>
              <a:t>2.1. Топ</a:t>
            </a:r>
            <a:r>
              <a:rPr lang="en-US" sz="1400" b="1">
                <a:solidFill>
                  <a:prstClr val="white"/>
                </a:solidFill>
              </a:rPr>
              <a:t>-5 </a:t>
            </a:r>
            <a:r>
              <a:rPr lang="ru-RU" sz="1400" b="1">
                <a:solidFill>
                  <a:prstClr val="white"/>
                </a:solidFill>
              </a:rPr>
              <a:t>орг-ий </a:t>
            </a:r>
            <a:r>
              <a:rPr lang="en-GB" sz="1400" b="1">
                <a:solidFill>
                  <a:prstClr val="white"/>
                </a:solidFill>
              </a:rPr>
              <a:t>(&gt;50 </a:t>
            </a:r>
            <a:r>
              <a:rPr lang="ru-RU" sz="1400" b="1">
                <a:solidFill>
                  <a:prstClr val="white"/>
                </a:solidFill>
              </a:rPr>
              <a:t>млн р.):</a:t>
            </a:r>
            <a:endParaRPr lang="en-GB" sz="1400" b="1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0230032-A0E6-4C0C-B4A6-27918E26EE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384651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prstClr val="white"/>
                </a:solidFill>
              </a:rPr>
              <a:t>2.2 Ключевые продукты:</a:t>
            </a:r>
            <a:endParaRPr lang="en-GB" sz="1400" b="1">
              <a:solidFill>
                <a:prstClr val="white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xmlns="" id="{BF4D3038-7738-4CEE-9D9C-FAA974871EED}"/>
              </a:ext>
            </a:extLst>
          </p:cNvPr>
          <p:cNvSpPr/>
          <p:nvPr userDrawn="1"/>
        </p:nvSpPr>
        <p:spPr>
          <a:xfrm>
            <a:off x="9417050" y="1881188"/>
            <a:ext cx="2922588" cy="614362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3C6CF3BC-61DB-4353-BBE1-A3C48CF0592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446463" y="5176838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>
                <a:solidFill>
                  <a:prstClr val="white"/>
                </a:solidFill>
              </a:rPr>
              <a:t>2.3. Ресурсы:</a:t>
            </a:r>
            <a:endParaRPr lang="en-GB" sz="1400" b="1">
              <a:solidFill>
                <a:prstClr val="white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>
                <a16:creationId xmlns:a16="http://schemas.microsoft.com/office/drawing/2014/main" xmlns="" id="{FE9779EE-C8F2-4E05-A493-4207EAA235DF}"/>
              </a:ext>
            </a:extLst>
          </p:cNvPr>
          <p:cNvSpPr/>
          <p:nvPr userDrawn="1"/>
        </p:nvSpPr>
        <p:spPr>
          <a:xfrm>
            <a:off x="9417050" y="1492250"/>
            <a:ext cx="2922588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965" tIns="45713" rIns="0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11749905-E54E-4169-A707-9A011E6D63A7}"/>
              </a:ext>
            </a:extLst>
          </p:cNvPr>
          <p:cNvSpPr txBox="1"/>
          <p:nvPr userDrawn="1"/>
        </p:nvSpPr>
        <p:spPr>
          <a:xfrm>
            <a:off x="6430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3.1. Мировые тренд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00D1DEC1-9AA9-4701-8C7A-27534C72D57C}"/>
              </a:ext>
            </a:extLst>
          </p:cNvPr>
          <p:cNvSpPr txBox="1"/>
          <p:nvPr userDrawn="1"/>
        </p:nvSpPr>
        <p:spPr>
          <a:xfrm>
            <a:off x="6454775" y="23653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Новые продукты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171EC1FA-A573-40FE-A174-F0950F5F2413}"/>
              </a:ext>
            </a:extLst>
          </p:cNvPr>
          <p:cNvSpPr txBox="1"/>
          <p:nvPr userDrawn="1"/>
        </p:nvSpPr>
        <p:spPr>
          <a:xfrm>
            <a:off x="6430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3.2. Российские тренд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99B5933-C035-4D18-9B63-4E4D0A1C0688}"/>
              </a:ext>
            </a:extLst>
          </p:cNvPr>
          <p:cNvSpPr txBox="1"/>
          <p:nvPr userDrawn="1"/>
        </p:nvSpPr>
        <p:spPr>
          <a:xfrm>
            <a:off x="476250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Производство</a:t>
            </a:r>
            <a:r>
              <a:rPr lang="en-US" sz="1400" dirty="0">
                <a:solidFill>
                  <a:prstClr val="black"/>
                </a:solidFill>
                <a:latin typeface="Arial"/>
                <a:cs typeface="+mn-cs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, млрд руб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B768D8E6-1DF9-48DC-AD3E-9D67071B14DE}"/>
              </a:ext>
            </a:extLst>
          </p:cNvPr>
          <p:cNvSpPr txBox="1"/>
          <p:nvPr userDrawn="1"/>
        </p:nvSpPr>
        <p:spPr>
          <a:xfrm>
            <a:off x="476250" y="3846513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Рабочие места</a:t>
            </a:r>
            <a:r>
              <a:rPr lang="en-US" sz="1400" dirty="0">
                <a:solidFill>
                  <a:prstClr val="black"/>
                </a:solidFill>
                <a:latin typeface="Arial"/>
                <a:cs typeface="+mn-cs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, тыс. ед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5704E61C-BF44-46F8-B878-CD8166E20F11}"/>
              </a:ext>
            </a:extLst>
          </p:cNvPr>
          <p:cNvSpPr txBox="1"/>
          <p:nvPr userDrawn="1"/>
        </p:nvSpPr>
        <p:spPr>
          <a:xfrm>
            <a:off x="3470275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Выручка (2017), млрд руб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66286340-85D0-4633-AF9D-DA11DBB94DF7}"/>
              </a:ext>
            </a:extLst>
          </p:cNvPr>
          <p:cNvSpPr txBox="1"/>
          <p:nvPr userDrawn="1"/>
        </p:nvSpPr>
        <p:spPr>
          <a:xfrm>
            <a:off x="3470275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Природные ресурсы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B02A26F2-E324-4FFF-ABC5-754F21285609}"/>
              </a:ext>
            </a:extLst>
          </p:cNvPr>
          <p:cNvSpPr txBox="1"/>
          <p:nvPr userDrawn="1"/>
        </p:nvSpPr>
        <p:spPr>
          <a:xfrm>
            <a:off x="3470275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Человеческий потенциал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DF652230-0709-4A54-A7D2-14762DCE2C0E}"/>
              </a:ext>
            </a:extLst>
          </p:cNvPr>
          <p:cNvSpPr txBox="1"/>
          <p:nvPr userDrawn="1"/>
        </p:nvSpPr>
        <p:spPr>
          <a:xfrm>
            <a:off x="6454775" y="38369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Растущие рынк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28CC18B0-C4BF-401B-A2D6-2581B619E212}"/>
              </a:ext>
            </a:extLst>
          </p:cNvPr>
          <p:cNvSpPr txBox="1"/>
          <p:nvPr userDrawn="1"/>
        </p:nvSpPr>
        <p:spPr>
          <a:xfrm>
            <a:off x="6454775" y="54895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Госполитика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86877910-33CD-48E6-A929-0526615BC956}"/>
              </a:ext>
            </a:extLst>
          </p:cNvPr>
          <p:cNvSpPr txBox="1"/>
          <p:nvPr userDrawn="1"/>
        </p:nvSpPr>
        <p:spPr>
          <a:xfrm>
            <a:off x="6454775" y="67325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Импортозамещение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82B517A6-0316-47E3-A7AA-007800197D47}"/>
              </a:ext>
            </a:extLst>
          </p:cNvPr>
          <p:cNvSpPr txBox="1"/>
          <p:nvPr userDrawn="1"/>
        </p:nvSpPr>
        <p:spPr>
          <a:xfrm>
            <a:off x="476250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Отрасли-поставщик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C4FBF7BB-F1DB-4680-99F6-E600CB414F3D}"/>
              </a:ext>
            </a:extLst>
          </p:cNvPr>
          <p:cNvSpPr txBox="1"/>
          <p:nvPr userDrawn="1"/>
        </p:nvSpPr>
        <p:spPr>
          <a:xfrm>
            <a:off x="476250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Отрасли-потребител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D2C39EDA-9BB9-406A-9665-07FA7E547BFF}"/>
              </a:ext>
            </a:extLst>
          </p:cNvPr>
          <p:cNvSpPr txBox="1"/>
          <p:nvPr userDrawn="1"/>
        </p:nvSpPr>
        <p:spPr>
          <a:xfrm>
            <a:off x="9417050" y="2074863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1. Поставщик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951DC8AC-B668-4E7C-B4BA-D316EE8AADBD}"/>
              </a:ext>
            </a:extLst>
          </p:cNvPr>
          <p:cNvSpPr txBox="1"/>
          <p:nvPr userDrawn="1"/>
        </p:nvSpPr>
        <p:spPr>
          <a:xfrm>
            <a:off x="9417050" y="38369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2. Потребите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DFD57978-551B-48F9-A361-9178115E10DF}"/>
              </a:ext>
            </a:extLst>
          </p:cNvPr>
          <p:cNvSpPr txBox="1"/>
          <p:nvPr userDrawn="1"/>
        </p:nvSpPr>
        <p:spPr>
          <a:xfrm>
            <a:off x="9417050" y="5165725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3. Ремонт/монтаж оборуд-ия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C895E6FA-F950-4545-A960-15C28AA1A480}"/>
              </a:ext>
            </a:extLst>
          </p:cNvPr>
          <p:cNvSpPr txBox="1"/>
          <p:nvPr userDrawn="1"/>
        </p:nvSpPr>
        <p:spPr>
          <a:xfrm>
            <a:off x="9417050" y="67325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4. Новые продукт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8" name="Isosceles Triangle 66">
            <a:extLst>
              <a:ext uri="{FF2B5EF4-FFF2-40B4-BE49-F238E27FC236}">
                <a16:creationId xmlns:a16="http://schemas.microsoft.com/office/drawing/2014/main" xmlns="" id="{AD2B0B67-45AD-4A0D-9B06-62B1830097F7}"/>
              </a:ext>
            </a:extLst>
          </p:cNvPr>
          <p:cNvSpPr/>
          <p:nvPr userDrawn="1"/>
        </p:nvSpPr>
        <p:spPr>
          <a:xfrm flipV="1">
            <a:off x="476250" y="8069263"/>
            <a:ext cx="2908300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69" name="Isosceles Triangle 67">
            <a:extLst>
              <a:ext uri="{FF2B5EF4-FFF2-40B4-BE49-F238E27FC236}">
                <a16:creationId xmlns:a16="http://schemas.microsoft.com/office/drawing/2014/main" xmlns="" id="{D886813E-4E6A-456E-91B1-29CE3E63FAA0}"/>
              </a:ext>
            </a:extLst>
          </p:cNvPr>
          <p:cNvSpPr/>
          <p:nvPr userDrawn="1"/>
        </p:nvSpPr>
        <p:spPr>
          <a:xfrm flipV="1">
            <a:off x="3460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0" name="Isosceles Triangle 68">
            <a:extLst>
              <a:ext uri="{FF2B5EF4-FFF2-40B4-BE49-F238E27FC236}">
                <a16:creationId xmlns:a16="http://schemas.microsoft.com/office/drawing/2014/main" xmlns="" id="{B52A6E85-B348-43E2-90C0-863CCDF20B2C}"/>
              </a:ext>
            </a:extLst>
          </p:cNvPr>
          <p:cNvSpPr/>
          <p:nvPr userDrawn="1"/>
        </p:nvSpPr>
        <p:spPr>
          <a:xfrm flipV="1">
            <a:off x="64452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5" name="Isosceles Triangle 69">
            <a:extLst>
              <a:ext uri="{FF2B5EF4-FFF2-40B4-BE49-F238E27FC236}">
                <a16:creationId xmlns:a16="http://schemas.microsoft.com/office/drawing/2014/main" xmlns="" id="{43390252-EE31-4024-BBE7-2AF5CEB4F986}"/>
              </a:ext>
            </a:extLst>
          </p:cNvPr>
          <p:cNvSpPr/>
          <p:nvPr userDrawn="1"/>
        </p:nvSpPr>
        <p:spPr>
          <a:xfrm flipV="1">
            <a:off x="9429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6" name="Flowchart: Off-page Connector 12">
            <a:extLst>
              <a:ext uri="{FF2B5EF4-FFF2-40B4-BE49-F238E27FC236}">
                <a16:creationId xmlns:a16="http://schemas.microsoft.com/office/drawing/2014/main" xmlns="" id="{C0E98AEB-095F-4DD5-947E-759F4AED84AE}"/>
              </a:ext>
            </a:extLst>
          </p:cNvPr>
          <p:cNvSpPr/>
          <p:nvPr userDrawn="1"/>
        </p:nvSpPr>
        <p:spPr>
          <a:xfrm>
            <a:off x="461963" y="1492250"/>
            <a:ext cx="2922587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Описание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7" name="Oval 16">
            <a:extLst>
              <a:ext uri="{FF2B5EF4-FFF2-40B4-BE49-F238E27FC236}">
                <a16:creationId xmlns:a16="http://schemas.microsoft.com/office/drawing/2014/main" xmlns="" id="{C9AF067E-6053-4CB6-8764-072687190D19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34036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2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8" name="Oval 17">
            <a:extLst>
              <a:ext uri="{FF2B5EF4-FFF2-40B4-BE49-F238E27FC236}">
                <a16:creationId xmlns:a16="http://schemas.microsoft.com/office/drawing/2014/main" xmlns="" id="{50C2467A-522B-427D-B72F-F756602459B0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3896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3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9" name="Oval 18">
            <a:extLst>
              <a:ext uri="{FF2B5EF4-FFF2-40B4-BE49-F238E27FC236}">
                <a16:creationId xmlns:a16="http://schemas.microsoft.com/office/drawing/2014/main" xmlns="" id="{5A49F9FD-D00F-44CE-BF9D-E88297FFDFBF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4191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1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80" name="Oval 19">
            <a:extLst>
              <a:ext uri="{FF2B5EF4-FFF2-40B4-BE49-F238E27FC236}">
                <a16:creationId xmlns:a16="http://schemas.microsoft.com/office/drawing/2014/main" xmlns="" id="{C5D0E894-5D07-4E25-923A-CEEB74316C4A}"/>
              </a:ext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93741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4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089" y="150131"/>
            <a:ext cx="11877429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48" name="Text Placeholder 37"/>
          <p:cNvSpPr>
            <a:spLocks noGrp="1"/>
          </p:cNvSpPr>
          <p:nvPr>
            <p:ph type="body" sz="quarter" idx="11"/>
          </p:nvPr>
        </p:nvSpPr>
        <p:spPr>
          <a:xfrm>
            <a:off x="3446825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Text Placeholder 37"/>
          <p:cNvSpPr>
            <a:spLocks noGrp="1"/>
          </p:cNvSpPr>
          <p:nvPr>
            <p:ph type="body" sz="quarter" idx="12"/>
          </p:nvPr>
        </p:nvSpPr>
        <p:spPr>
          <a:xfrm>
            <a:off x="346898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Text Placeholder 37"/>
          <p:cNvSpPr>
            <a:spLocks noGrp="1"/>
          </p:cNvSpPr>
          <p:nvPr>
            <p:ph type="body" sz="quarter" idx="13"/>
          </p:nvPr>
        </p:nvSpPr>
        <p:spPr>
          <a:xfrm>
            <a:off x="6445793" y="5739360"/>
            <a:ext cx="2864659" cy="963949"/>
          </a:xfrm>
          <a:prstGeom prst="rect">
            <a:avLst/>
          </a:prstGeom>
        </p:spPr>
        <p:txBody>
          <a:bodyPr lIns="53993" tIns="0" rIns="0" bIns="0"/>
          <a:lstStyle>
            <a:lvl1pPr marL="0" indent="504436"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Text Placeholder 37"/>
          <p:cNvSpPr>
            <a:spLocks noGrp="1"/>
          </p:cNvSpPr>
          <p:nvPr>
            <p:ph type="body" sz="quarter" idx="14"/>
          </p:nvPr>
        </p:nvSpPr>
        <p:spPr>
          <a:xfrm>
            <a:off x="3468985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2" name="Text Placeholder 37"/>
          <p:cNvSpPr>
            <a:spLocks noGrp="1"/>
          </p:cNvSpPr>
          <p:nvPr>
            <p:ph type="body" sz="quarter" idx="15"/>
          </p:nvPr>
        </p:nvSpPr>
        <p:spPr>
          <a:xfrm>
            <a:off x="6431566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Text Placeholder 37"/>
          <p:cNvSpPr>
            <a:spLocks noGrp="1"/>
          </p:cNvSpPr>
          <p:nvPr>
            <p:ph type="body" sz="quarter" idx="16"/>
          </p:nvPr>
        </p:nvSpPr>
        <p:spPr>
          <a:xfrm>
            <a:off x="6431571" y="2636797"/>
            <a:ext cx="2878880" cy="1105066"/>
          </a:xfrm>
          <a:prstGeom prst="rect">
            <a:avLst/>
          </a:prstGeom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4" name="Text Placeholder 37"/>
          <p:cNvSpPr>
            <a:spLocks noGrp="1"/>
          </p:cNvSpPr>
          <p:nvPr>
            <p:ph type="body" sz="quarter" idx="17"/>
          </p:nvPr>
        </p:nvSpPr>
        <p:spPr>
          <a:xfrm>
            <a:off x="6431566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Text Placeholder 37"/>
          <p:cNvSpPr>
            <a:spLocks noGrp="1"/>
          </p:cNvSpPr>
          <p:nvPr>
            <p:ph type="body" sz="quarter" idx="18"/>
          </p:nvPr>
        </p:nvSpPr>
        <p:spPr>
          <a:xfrm>
            <a:off x="47630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8" name="Text Placeholder 37"/>
          <p:cNvSpPr>
            <a:spLocks noGrp="1"/>
          </p:cNvSpPr>
          <p:nvPr>
            <p:ph type="body" sz="quarter" idx="19"/>
          </p:nvPr>
        </p:nvSpPr>
        <p:spPr>
          <a:xfrm>
            <a:off x="476309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Text Placeholder 37"/>
          <p:cNvSpPr>
            <a:spLocks noGrp="1"/>
          </p:cNvSpPr>
          <p:nvPr>
            <p:ph type="body" sz="quarter" idx="20"/>
          </p:nvPr>
        </p:nvSpPr>
        <p:spPr>
          <a:xfrm>
            <a:off x="9416313" y="2366093"/>
            <a:ext cx="2878880" cy="1375773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4" name="Text Placeholder 37"/>
          <p:cNvSpPr>
            <a:spLocks noGrp="1"/>
          </p:cNvSpPr>
          <p:nvPr>
            <p:ph type="body" sz="quarter" idx="21"/>
          </p:nvPr>
        </p:nvSpPr>
        <p:spPr>
          <a:xfrm>
            <a:off x="9416313" y="4144186"/>
            <a:ext cx="2878880" cy="99255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5" name="Text Placeholder 37"/>
          <p:cNvSpPr>
            <a:spLocks noGrp="1"/>
          </p:cNvSpPr>
          <p:nvPr>
            <p:ph type="body" sz="quarter" idx="22"/>
          </p:nvPr>
        </p:nvSpPr>
        <p:spPr>
          <a:xfrm>
            <a:off x="9416313" y="5488794"/>
            <a:ext cx="2878880" cy="1214511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6" name="Text Placeholder 37"/>
          <p:cNvSpPr>
            <a:spLocks noGrp="1"/>
          </p:cNvSpPr>
          <p:nvPr>
            <p:ph type="body" sz="quarter" idx="23"/>
          </p:nvPr>
        </p:nvSpPr>
        <p:spPr>
          <a:xfrm>
            <a:off x="9416313" y="6976516"/>
            <a:ext cx="2878880" cy="963949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1" name="Text Placeholder 37"/>
          <p:cNvSpPr>
            <a:spLocks noGrp="1"/>
          </p:cNvSpPr>
          <p:nvPr>
            <p:ph type="body" sz="quarter" idx="24"/>
          </p:nvPr>
        </p:nvSpPr>
        <p:spPr>
          <a:xfrm>
            <a:off x="454152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2" name="Text Placeholder 37"/>
          <p:cNvSpPr>
            <a:spLocks noGrp="1"/>
          </p:cNvSpPr>
          <p:nvPr>
            <p:ph type="body" sz="quarter" idx="25"/>
          </p:nvPr>
        </p:nvSpPr>
        <p:spPr>
          <a:xfrm>
            <a:off x="3441541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3" name="Text Placeholder 37"/>
          <p:cNvSpPr>
            <a:spLocks noGrp="1"/>
          </p:cNvSpPr>
          <p:nvPr>
            <p:ph type="body" sz="quarter" idx="26"/>
          </p:nvPr>
        </p:nvSpPr>
        <p:spPr>
          <a:xfrm>
            <a:off x="6428930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4" name="Text Placeholder 37"/>
          <p:cNvSpPr>
            <a:spLocks noGrp="1"/>
          </p:cNvSpPr>
          <p:nvPr>
            <p:ph type="body" sz="quarter" idx="27"/>
          </p:nvPr>
        </p:nvSpPr>
        <p:spPr>
          <a:xfrm>
            <a:off x="9416319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246662" algn="l" defTabSz="12799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271281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5974CAFA-2982-46EF-8B45-C8D082F87E0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4062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A0F52E2E-C86D-4FDB-A35B-240C61ACBF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9090448F-9DDC-43C5-93BA-332CBFF666C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4063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A66E8A8B-8AF9-4607-BA59-854C9B34A7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CDBF2962-D361-4CF3-B2C3-26E4FD9E11D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4064" name="think-cell Slide" r:id="rId8" imgW="360" imgH="360" progId="">
              <p:embed/>
            </p:oleObj>
          </a:graphicData>
        </a:graphic>
      </p:graphicFrame>
      <p:sp>
        <p:nvSpPr>
          <p:cNvPr id="8" name="Rectangle 2" hidden="1">
            <a:extLst>
              <a:ext uri="{FF2B5EF4-FFF2-40B4-BE49-F238E27FC236}">
                <a16:creationId xmlns:a16="http://schemas.microsoft.com/office/drawing/2014/main" xmlns="" id="{2B2BCE6F-6900-4807-9755-C73AC6E19BA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9634100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F7FBA17E-0AE7-4636-9AC5-EF2E1FB9C40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508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FF94E12A-83A4-4190-9810-E34DF0F2DA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E534E98A-FDD7-40F0-BF93-D46F43A874D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508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E6ECC76D-04FF-40B3-8028-46A217E3D41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CEC018D7-09C6-411F-8E6F-FC9B45B6739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5088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37D7CB84-7625-48A2-9CA9-13EE816953D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81D3757-43DF-4925-A23A-30EB8D15ED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9FB1ACE-8E49-439E-88FD-53B5925E2753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924159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A2A9B041-ED90-4E74-8C1F-FAE0DDE1139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6110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4502819B-D060-40FE-AB72-7B6D47031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71D7D8D2-7042-40DC-A896-54D0F6F547B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6111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01FE4DC3-99C7-4F4A-87EA-12F93E3FE8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7140C6FB-662C-4C01-B1DF-F6269BBA900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6112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59573FE0-5AC0-4108-9CC3-C8F0A0E62F37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AF3808D7-1EFE-47BB-B73F-76D1DF93E0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5C1A46E-8B46-4FB3-922C-DA5A7D54332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030263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B2489233-7EE6-423C-9B4D-5D426E6DAF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5214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41C88F5D-0456-4DEB-B863-85CDA5066A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37A73AFF-A93B-4F28-A881-FA845DC29CF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5215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F5BF3BB3-9A80-42CC-8921-CDD7EF3E09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31F36091-27E0-439C-B606-B26AED5298B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16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>
                <a16:creationId xmlns:a16="http://schemas.microsoft.com/office/drawing/2014/main" xmlns="" id="{5450CCB9-7E70-4459-BF20-4A6619E6C9E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2" y="2393635"/>
            <a:ext cx="11041380" cy="3993832"/>
          </a:xfrm>
        </p:spPr>
        <p:txBody>
          <a:bodyPr anchor="b"/>
          <a:lstStyle>
            <a:lvl1pPr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2" y="6425250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  <a:lvl2pPr marL="6399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9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96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5995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19994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3993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7992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1991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xmlns="" id="{FB4DF345-5AC9-4F3C-AF72-4860A6BAC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0762BC-EFFC-4347-BB62-275B75C23B49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xmlns="" id="{321F2DA4-F221-4CC3-A731-AAE8688C7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0A489DB9-902E-4F19-94DF-1F4D30E12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78263D1-E89D-4A67-A089-61E2270D61E8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283114520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E066892C-8BBD-4504-A19E-1E01C42E306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713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0D954DB0-9ECE-4C5B-AC90-CFD14C7128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9FE3C64F-D7D3-44DD-8AF5-7655824A569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713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66E077C9-03DC-4E3C-8A17-9186F82CBE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A5BA3116-0FF0-416B-B453-E00463194AE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7136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813700EC-35CD-4F3C-88DF-465ED1F0C57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0AAFAEDA-30DB-47D9-8B6F-129EC26C3B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C0D280-C5B4-4D9E-A895-1C04573DBBFA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576907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FF96AA56-F7A6-4C53-BE49-529423F8C77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8158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BD4F9818-CA13-4093-A3F6-F8849E075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232">
            <a:extLst>
              <a:ext uri="{FF2B5EF4-FFF2-40B4-BE49-F238E27FC236}">
                <a16:creationId xmlns:a16="http://schemas.microsoft.com/office/drawing/2014/main" xmlns="" id="{F1D73CF7-61F1-4122-90D9-A1107D00FA1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8159" name="think-cell Slide" r:id="rId7" imgW="360" imgH="360" progId="">
              <p:embed/>
            </p:oleObj>
          </a:graphicData>
        </a:graphic>
      </p:graphicFrame>
      <p:sp>
        <p:nvSpPr>
          <p:cNvPr id="6" name="Rectangle 8" hidden="1">
            <a:extLst>
              <a:ext uri="{FF2B5EF4-FFF2-40B4-BE49-F238E27FC236}">
                <a16:creationId xmlns:a16="http://schemas.microsoft.com/office/drawing/2014/main" xmlns="" id="{39E21E16-36CD-4546-BC60-1F2062658B2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>
            <a:extLst>
              <a:ext uri="{FF2B5EF4-FFF2-40B4-BE49-F238E27FC236}">
                <a16:creationId xmlns:a16="http://schemas.microsoft.com/office/drawing/2014/main" xmlns="" id="{1242C6E3-D8BF-45B2-A216-BB0E70DD514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8160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37337A8A-79F5-46D4-9699-2A77B6216E5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E0C6A55C-0345-4DBC-B574-D6D0007CA9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B9721A-5CE5-4BEB-9734-B854F4FCA25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119562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35A48107-EB41-4C7C-A9C5-CBC2F6775FA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9182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C5D1B9EB-080D-4DA5-8B55-9C6A0CED1B1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BBE69F60-DD9B-4D28-B2AA-0E27AD92A8D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9183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09F205F0-A7F9-4784-9585-40106995EBD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F8E78D40-CBDB-4A87-B454-C004B0607F8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9184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xmlns="" id="{CDC6D0F9-A770-4029-B015-99A032C0B534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F1BEC4F-03AD-4042-9048-1E5C05B0F2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1EBDFAB-1472-47C5-87F6-EDC700037C88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066488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>
            <a:extLst>
              <a:ext uri="{FF2B5EF4-FFF2-40B4-BE49-F238E27FC236}">
                <a16:creationId xmlns:a16="http://schemas.microsoft.com/office/drawing/2014/main" xmlns="" id="{D8C35CCA-20D1-44CF-9CFE-594A1CE4C27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0206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>
                <a16:creationId xmlns:a16="http://schemas.microsoft.com/office/drawing/2014/main" xmlns="" id="{B0BC3FC5-69A6-4AE7-AFA5-160D353461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xmlns="" id="{9E1FBCD9-957A-4B0B-9C3C-F63DBDCED3F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0207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>
                <a16:creationId xmlns:a16="http://schemas.microsoft.com/office/drawing/2014/main" xmlns="" id="{EC503B68-D63C-4795-8659-C53CB65797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>
            <a:extLst>
              <a:ext uri="{FF2B5EF4-FFF2-40B4-BE49-F238E27FC236}">
                <a16:creationId xmlns:a16="http://schemas.microsoft.com/office/drawing/2014/main" xmlns="" id="{3AE1611A-2B6C-4BDA-BB59-C8F4F9CE5EE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3175"/>
        </p:xfrm>
        <a:graphic>
          <a:graphicData uri="http://schemas.openxmlformats.org/presentationml/2006/ole">
            <p:oleObj spid="_x0000_s90208" name="think-cell Slide" r:id="rId8" imgW="360" imgH="360" progId="">
              <p:embed/>
            </p:oleObj>
          </a:graphicData>
        </a:graphic>
      </p:graphicFrame>
      <p:sp>
        <p:nvSpPr>
          <p:cNvPr id="9" name="Rectangle 12" hidden="1">
            <a:extLst>
              <a:ext uri="{FF2B5EF4-FFF2-40B4-BE49-F238E27FC236}">
                <a16:creationId xmlns:a16="http://schemas.microsoft.com/office/drawing/2014/main" xmlns="" id="{6C60C9E0-DDD6-437A-A621-675BE32A652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3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9284DD4-F03A-4EA1-B5F2-513DAE04FC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4500" y="254000"/>
            <a:ext cx="11912600" cy="10636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5571" eaLnBrk="1" hangingPunct="1">
              <a:defRPr/>
            </a:pPr>
            <a:endParaRPr lang="ru-RU" altLang="ru-RU" sz="2500">
              <a:solidFill>
                <a:prstClr val="black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4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4500" y="1813565"/>
            <a:ext cx="12048173" cy="4716145"/>
          </a:xfrm>
        </p:spPr>
        <p:txBody>
          <a:bodyPr/>
          <a:lstStyle>
            <a:lvl1pPr>
              <a:defRPr sz="3400"/>
            </a:lvl1pPr>
            <a:lvl2pPr marL="959985" indent="-319995">
              <a:buFont typeface="Arial" panose="020B0604020202020204" pitchFamily="34" charset="0"/>
              <a:buChar char="−"/>
              <a:defRPr sz="2800"/>
            </a:lvl2pPr>
            <a:lvl3pPr marL="1599973" indent="-319995">
              <a:buFont typeface="Wingdings" panose="05000000000000000000" pitchFamily="2" charset="2"/>
              <a:buChar char="§"/>
              <a:defRPr sz="2500"/>
            </a:lvl3pPr>
            <a:lvl4pPr marL="2239962" indent="-319995">
              <a:buFont typeface="Courier New" panose="02070309020205020404" pitchFamily="49" charset="0"/>
              <a:buChar char="o"/>
              <a:defRPr sz="2200"/>
            </a:lvl4pPr>
            <a:lvl5pPr marL="2879952" indent="-319995">
              <a:buFont typeface="Wingdings" panose="05000000000000000000" pitchFamily="2" charset="2"/>
              <a:buChar char="ü"/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A9CD9607-971C-49D4-94A2-C42DBE6AE3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21875" y="9074150"/>
            <a:ext cx="2879725" cy="511175"/>
          </a:xfrm>
        </p:spPr>
        <p:txBody>
          <a:bodyPr/>
          <a:lstStyle>
            <a:lvl1pPr>
              <a:defRPr b="1"/>
            </a:lvl1pPr>
          </a:lstStyle>
          <a:p>
            <a:fld id="{DD30F212-B470-4C9B-A400-6FA86CD2FA3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331134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>
            <a:extLst>
              <a:ext uri="{FF2B5EF4-FFF2-40B4-BE49-F238E27FC236}">
                <a16:creationId xmlns:a16="http://schemas.microsoft.com/office/drawing/2014/main" xmlns="" id="{AB88E065-91F4-48D0-9D70-ACA0D7ECC28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1230" name="think-cell Slide" r:id="rId5" imgW="360" imgH="360" progId="">
              <p:embed/>
            </p:oleObj>
          </a:graphicData>
        </a:graphic>
      </p:graphicFrame>
      <p:sp>
        <p:nvSpPr>
          <p:cNvPr id="9" name="Rectangle 7" hidden="1">
            <a:extLst>
              <a:ext uri="{FF2B5EF4-FFF2-40B4-BE49-F238E27FC236}">
                <a16:creationId xmlns:a16="http://schemas.microsoft.com/office/drawing/2014/main" xmlns="" id="{0ACB029A-C4F1-4EF6-BB0D-F2092A62CA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>
            <a:extLst>
              <a:ext uri="{FF2B5EF4-FFF2-40B4-BE49-F238E27FC236}">
                <a16:creationId xmlns:a16="http://schemas.microsoft.com/office/drawing/2014/main" xmlns="" id="{3ACC7086-A3E7-43B4-B78A-50E740A1B0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1231" name="think-cell Slide" r:id="rId6" imgW="360" imgH="360" progId="">
              <p:embed/>
            </p:oleObj>
          </a:graphicData>
        </a:graphic>
      </p:graphicFrame>
      <p:sp>
        <p:nvSpPr>
          <p:cNvPr id="13" name="Rectangle 7" hidden="1">
            <a:extLst>
              <a:ext uri="{FF2B5EF4-FFF2-40B4-BE49-F238E27FC236}">
                <a16:creationId xmlns:a16="http://schemas.microsoft.com/office/drawing/2014/main" xmlns="" id="{AC886690-22E1-4849-BFA1-1495E1A1E8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02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>
            <a:extLst>
              <a:ext uri="{FF2B5EF4-FFF2-40B4-BE49-F238E27FC236}">
                <a16:creationId xmlns:a16="http://schemas.microsoft.com/office/drawing/2014/main" xmlns="" id="{95802AC8-37D3-43E9-A68C-33DED8F54A9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91232" name="think-cell Slide" r:id="rId7" imgW="360" imgH="360" progId="">
              <p:embed/>
            </p:oleObj>
          </a:graphicData>
        </a:graphic>
      </p:graphicFrame>
      <p:cxnSp>
        <p:nvCxnSpPr>
          <p:cNvPr id="17" name="Прямая соединительная линия 13">
            <a:extLst>
              <a:ext uri="{FF2B5EF4-FFF2-40B4-BE49-F238E27FC236}">
                <a16:creationId xmlns:a16="http://schemas.microsoft.com/office/drawing/2014/main" xmlns="" id="{120F57C9-F858-4BED-B86D-CAC8C98EBC64}"/>
              </a:ext>
            </a:extLst>
          </p:cNvPr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DCFB17C-D114-48F9-AC3C-B6AB28F4FF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11" y="137023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2037" y="1913407"/>
            <a:ext cx="5157453" cy="3841338"/>
          </a:xfrm>
        </p:spPr>
        <p:txBody>
          <a:bodyPr/>
          <a:lstStyle>
            <a:lvl1pPr marL="194713" indent="-194713">
              <a:buClr>
                <a:srgbClr val="830051"/>
              </a:buCl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7322039" y="1391044"/>
            <a:ext cx="5157454" cy="483204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5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96259" indent="0" algn="ctr">
              <a:buNone/>
              <a:defRPr sz="2200"/>
            </a:lvl2pPr>
            <a:lvl3pPr marL="992522" indent="0" algn="ctr">
              <a:buNone/>
              <a:defRPr sz="2000"/>
            </a:lvl3pPr>
            <a:lvl4pPr marL="1488781" indent="0" algn="ctr">
              <a:buNone/>
              <a:defRPr sz="1600"/>
            </a:lvl4pPr>
            <a:lvl5pPr marL="1985040" indent="0" algn="ctr">
              <a:buNone/>
              <a:defRPr sz="1600"/>
            </a:lvl5pPr>
            <a:lvl6pPr marL="2481302" indent="0" algn="ctr">
              <a:buNone/>
              <a:defRPr sz="1600"/>
            </a:lvl6pPr>
            <a:lvl7pPr marL="2977564" indent="0" algn="ctr">
              <a:buNone/>
              <a:defRPr sz="1600"/>
            </a:lvl7pPr>
            <a:lvl8pPr marL="3473821" indent="0" algn="ctr">
              <a:buNone/>
              <a:defRPr sz="1600"/>
            </a:lvl8pPr>
            <a:lvl9pPr marL="3970083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/>
          <a:lstStyle>
            <a:lvl1pPr marL="0" indent="0">
              <a:buNone/>
              <a:defRPr sz="13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62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75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xmlns="" id="{71DF4C49-D480-4953-B770-02E7AA57EE6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xmlns="" id="{873013A2-018F-49E0-BEE6-6813DFEF2A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xmlns="" id="{275E0893-BC55-49BA-BB23-24D0EEF09C1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>
              <a:defRPr/>
            </a:lvl1pPr>
          </a:lstStyle>
          <a:p>
            <a:fld id="{381AFA5E-849C-422A-BE90-D93DA300C76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="" xmlns:p14="http://schemas.microsoft.com/office/powerpoint/2010/main" val="16415680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4966" name="think-cell Slide" r:id="rId5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4967" name="think-cell Slide" r:id="rId6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Рисунок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312738" y="2103438"/>
            <a:ext cx="12309475" cy="57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431800" y="2103438"/>
            <a:ext cx="9077325" cy="394970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0" y="2103208"/>
            <a:ext cx="8436761" cy="2635171"/>
          </a:xfrm>
        </p:spPr>
        <p:txBody>
          <a:bodyPr bIns="233966" anchor="b"/>
          <a:lstStyle>
            <a:lvl1pPr marL="574364" indent="0" algn="l">
              <a:defRPr sz="24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8" y="2555875"/>
            <a:ext cx="11961495" cy="6091873"/>
          </a:xfrm>
          <a:prstGeom prst="rect">
            <a:avLst/>
          </a:prstGeom>
        </p:spPr>
        <p:txBody>
          <a:bodyPr/>
          <a:lstStyle>
            <a:lvl1pPr marL="319995" indent="-319995" algn="l" defTabSz="1279980" rtl="0" eaLnBrk="1" latinLnBrk="0" hangingPunct="1">
              <a:lnSpc>
                <a:spcPct val="90000"/>
              </a:lnSpc>
              <a:spcBef>
                <a:spcPts val="1399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985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973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996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995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994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9931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9919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9910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54088" y="8899525"/>
            <a:ext cx="3119437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94225" y="8899525"/>
            <a:ext cx="4679950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0798CA-A6F9-4120-A561-4FDFA754025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6634766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6008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6009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010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90" indent="0" algn="ctr">
              <a:buNone/>
              <a:defRPr sz="2800"/>
            </a:lvl2pPr>
            <a:lvl3pPr marL="1279980" indent="0" algn="ctr">
              <a:buNone/>
              <a:defRPr sz="2500"/>
            </a:lvl3pPr>
            <a:lvl4pPr marL="1919968" indent="0" algn="ctr">
              <a:buNone/>
              <a:defRPr sz="2200"/>
            </a:lvl4pPr>
            <a:lvl5pPr marL="2559957" indent="0" algn="ctr">
              <a:buNone/>
              <a:defRPr sz="2200"/>
            </a:lvl5pPr>
            <a:lvl6pPr marL="3199947" indent="0" algn="ctr">
              <a:buNone/>
              <a:defRPr sz="2200"/>
            </a:lvl6pPr>
            <a:lvl7pPr marL="3839935" indent="0" algn="ctr">
              <a:buNone/>
              <a:defRPr sz="2200"/>
            </a:lvl7pPr>
            <a:lvl8pPr marL="4479925" indent="0" algn="ctr">
              <a:buNone/>
              <a:defRPr sz="2200"/>
            </a:lvl8pPr>
            <a:lvl9pPr marL="5119915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ABB99-6A14-4AC7-BFC5-C85FF86C8A0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B78DE-1C24-41F7-A29B-EF2E4908B15C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249006744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7032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7033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7034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429D4-5705-42D4-9BFB-0FF93CAA5C12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989431-2327-47EB-9A9A-AD8159607DFC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00523507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8056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8057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8058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2" y="2393635"/>
            <a:ext cx="11041380" cy="3993832"/>
          </a:xfrm>
        </p:spPr>
        <p:txBody>
          <a:bodyPr anchor="b"/>
          <a:lstStyle>
            <a:lvl1pPr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2" y="6425250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  <a:lvl2pPr marL="6399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9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96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5995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19994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3993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7992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1991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23A9EE-3012-49F9-ACD4-A1836738B54B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60B1D0-44F2-4D33-9879-8E369AFF9D7F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769182148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9080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9081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082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2BB594-F583-4101-ACB0-BA8586D0790B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1A5E45E-BC54-447B-9B05-5E4F75128CE6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43134568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E03583F8-3D01-417F-80E5-2A516671602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6238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ADDADDE7-C9F6-4706-AE1C-46DF61232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CE302AC3-C47B-4341-A919-6229C57F4ED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6239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5476240-A05D-458F-BB82-4F91BAA168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50E0CCB4-7CF4-4A66-9C81-6238E44C4BE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40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2F87B776-6AC3-4F35-9666-6CCA6F29679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B428DEA0-2A7B-4B67-95E1-002C8BAAA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80B5D5-FE97-4DE7-8CF7-409E4CA695B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94338EFF-04FF-46DA-B212-C529F1F18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B47CBD8A-7F01-4999-AE5F-EB0A187E9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BD0D44-CCDC-4D44-8D8E-E3AFAC7BD10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847539926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0104" name="think-cell Slide" r:id="rId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0105" name="think-cell Slide" r:id="rId7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1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0106" name="think-cell Slide" r:id="rId8" imgW="360" imgH="360" progId="">
              <p:embed/>
            </p:oleObj>
          </a:graphicData>
        </a:graphic>
      </p:graphicFrame>
      <p:sp>
        <p:nvSpPr>
          <p:cNvPr id="12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86F8FA-8BFE-489C-A7D5-607677BBD7A7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B16DDA-C492-48AB-BB9A-F0116EEABFC0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144801183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1128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1129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1130" name="think-cell Slide" r:id="rId8" imgW="360" imgH="360" progId="">
              <p:embed/>
            </p:oleObj>
          </a:graphicData>
        </a:graphic>
      </p:graphicFrame>
      <p:sp>
        <p:nvSpPr>
          <p:cNvPr id="8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46410A-B308-4019-9E43-5B7CF5231AD0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866054-D105-4A5E-B229-BDBF5B435CF4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882551695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86523A-F27F-4888-873C-A8BBCC6C66A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70DB74-75A6-4C55-BD7F-346BF0091FC9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626899415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2152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2153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2154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8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A7CB3-83FA-4E3F-890F-25E520190348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ED1111-BE9C-4E29-9A1E-793E6AB7668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560245111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3176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3177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178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8"/>
            <a:ext cx="6480810" cy="6823075"/>
          </a:xfrm>
        </p:spPr>
        <p:txBody>
          <a:bodyPr rtlCol="0">
            <a:normAutofit/>
          </a:bodyPr>
          <a:lstStyle>
            <a:lvl1pPr marL="0" indent="0">
              <a:buNone/>
              <a:defRPr sz="4500"/>
            </a:lvl1pPr>
            <a:lvl2pPr marL="639990" indent="0">
              <a:buNone/>
              <a:defRPr sz="3900"/>
            </a:lvl2pPr>
            <a:lvl3pPr marL="1279980" indent="0">
              <a:buNone/>
              <a:defRPr sz="3400"/>
            </a:lvl3pPr>
            <a:lvl4pPr marL="1919968" indent="0">
              <a:buNone/>
              <a:defRPr sz="2800"/>
            </a:lvl4pPr>
            <a:lvl5pPr marL="2559957" indent="0">
              <a:buNone/>
              <a:defRPr sz="2800"/>
            </a:lvl5pPr>
            <a:lvl6pPr marL="3199947" indent="0">
              <a:buNone/>
              <a:defRPr sz="2800"/>
            </a:lvl6pPr>
            <a:lvl7pPr marL="3839935" indent="0">
              <a:buNone/>
              <a:defRPr sz="2800"/>
            </a:lvl7pPr>
            <a:lvl8pPr marL="4479925" indent="0">
              <a:buNone/>
              <a:defRPr sz="2800"/>
            </a:lvl8pPr>
            <a:lvl9pPr marL="5119915" indent="0">
              <a:buNone/>
              <a:defRPr sz="28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93B935-4426-42DB-9E23-CDABC78A5AE9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987226-40B7-4FBE-9CE6-E6C5F3797599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21382543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4200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4201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202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B0A2A9-5056-4DDB-9A94-28BAF9718715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6DE857-EFAF-4D0E-9DA4-EA9424EF5AB4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921467105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5224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5225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226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896A5C-2EA1-402C-BE89-E20B8B9560E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12CAD1-F0FB-4F78-B170-0A694F9159C2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807301068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6248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6249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6250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79477" y="1016649"/>
            <a:ext cx="11042651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3FD0335-6C15-4B13-916F-EBD3BA9DC59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8057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7272" name="think-cell Slide" r:id="rId10" imgW="360" imgH="360" progId="">
              <p:embed/>
            </p:oleObj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2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7273" name="think-cell Slide" r:id="rId11" imgW="360" imgH="360" progId="">
              <p:embed/>
            </p:oleObj>
          </a:graphicData>
        </a:graphic>
      </p:graphicFrame>
      <p:sp>
        <p:nvSpPr>
          <p:cNvPr id="2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24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7274" name="think-cell Slide" r:id="rId12" imgW="360" imgH="360" progId="">
              <p:embed/>
            </p:oleObj>
          </a:graphicData>
        </a:graphic>
      </p:graphicFrame>
      <p:sp>
        <p:nvSpPr>
          <p:cNvPr id="2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61963" y="1881188"/>
            <a:ext cx="2922587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7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4464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4309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9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4464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Заделы региона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0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4309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Тренды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61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1.1. Ключевые показате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61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1.2. Связанные отрас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3446463" y="207486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1. Топ</a:t>
            </a:r>
            <a:r>
              <a:rPr lang="en-US" sz="1400" b="1" smtClean="0">
                <a:solidFill>
                  <a:prstClr val="white"/>
                </a:solidFill>
              </a:rPr>
              <a:t>-5 </a:t>
            </a:r>
            <a:r>
              <a:rPr lang="ru-RU" sz="1400" b="1" smtClean="0">
                <a:solidFill>
                  <a:prstClr val="white"/>
                </a:solidFill>
              </a:rPr>
              <a:t>орг-ий </a:t>
            </a:r>
            <a:r>
              <a:rPr lang="en-GB" sz="1400" b="1" smtClean="0">
                <a:solidFill>
                  <a:prstClr val="white"/>
                </a:solidFill>
              </a:rPr>
              <a:t>(&gt;50 </a:t>
            </a:r>
            <a:r>
              <a:rPr lang="ru-RU" sz="1400" b="1" smtClean="0">
                <a:solidFill>
                  <a:prstClr val="white"/>
                </a:solidFill>
              </a:rPr>
              <a:t>млн р.)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>
            <a:spLocks noChangeArrowheads="1"/>
          </p:cNvSpPr>
          <p:nvPr userDrawn="1"/>
        </p:nvSpPr>
        <p:spPr bwMode="auto">
          <a:xfrm>
            <a:off x="3446463" y="384651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2 Ключевые продукты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9417050" y="1881188"/>
            <a:ext cx="2922588" cy="614362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 userDrawn="1"/>
        </p:nvSpPr>
        <p:spPr bwMode="auto">
          <a:xfrm>
            <a:off x="3446463" y="5176838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3. Ресурсы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9417050" y="1492250"/>
            <a:ext cx="2922588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965" tIns="45713" rIns="0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30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3.1. Мировые тренд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23653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Новые продукты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30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3.2. Российские тренд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Производство</a:t>
            </a:r>
            <a:r>
              <a:rPr lang="en-US" sz="1400" dirty="0">
                <a:solidFill>
                  <a:prstClr val="black"/>
                </a:solidFill>
                <a:latin typeface="Arial"/>
                <a:cs typeface="+mn-cs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, млрд руб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3846513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Рабочие места</a:t>
            </a:r>
            <a:r>
              <a:rPr lang="en-US" sz="1400" dirty="0">
                <a:solidFill>
                  <a:prstClr val="black"/>
                </a:solidFill>
                <a:latin typeface="Arial"/>
                <a:cs typeface="+mn-cs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, тыс. ед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Выручка (2017), млрд руб.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Природные ресурсы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Человеческий потенциал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38369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Растущие рынк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54895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Госполитика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67325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Импортозамещение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Отрасли-поставщик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  <a:cs typeface="+mn-cs"/>
              </a:rPr>
              <a:t>Отрасли-потребители:</a:t>
            </a:r>
            <a:endParaRPr lang="en-GB" sz="140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2074863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1. Поставщик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38369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2. Потребители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5165725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3. Ремонт/монтаж оборуд-ия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67325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  <a:cs typeface="+mn-cs"/>
              </a:rPr>
              <a:t>4.4. Новые продукты:</a:t>
            </a:r>
            <a:endParaRPr lang="en-GB" sz="140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68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76250" y="8069263"/>
            <a:ext cx="2908300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69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460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0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4452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5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9429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6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61963" y="1492250"/>
            <a:ext cx="2922587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Описание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7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34036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2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8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3896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3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9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4191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1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80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93741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4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9" y="150131"/>
            <a:ext cx="11877429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46825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6898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5793" y="5739360"/>
            <a:ext cx="2864659" cy="963949"/>
          </a:xfrm>
          <a:prstGeom prst="rect">
            <a:avLst/>
          </a:prstGeom>
        </p:spPr>
        <p:txBody>
          <a:bodyPr lIns="53993" tIns="0" rIns="0" bIns="0"/>
          <a:lstStyle>
            <a:lvl1pPr marL="0" indent="504436"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68985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31566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31571" y="2636797"/>
            <a:ext cx="2878880" cy="1105066"/>
          </a:xfrm>
          <a:prstGeom prst="rect">
            <a:avLst/>
          </a:prstGeom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1566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630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6309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6313" y="2366093"/>
            <a:ext cx="2878880" cy="1375773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16313" y="4144186"/>
            <a:ext cx="2878880" cy="99255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16313" y="5488794"/>
            <a:ext cx="2878880" cy="1214511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16313" y="6976516"/>
            <a:ext cx="2878880" cy="963949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152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41541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8930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16319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246662" algn="l" defTabSz="12799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22916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829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829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298" name="think-cell Slide" r:id="rId8" imgW="360" imgH="360" progId="">
              <p:embed/>
            </p:oleObj>
          </a:graphicData>
        </a:graphic>
      </p:graphicFrame>
      <p:sp>
        <p:nvSpPr>
          <p:cNvPr id="8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121829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>
            <a:extLst>
              <a:ext uri="{FF2B5EF4-FFF2-40B4-BE49-F238E27FC236}">
                <a16:creationId xmlns:a16="http://schemas.microsoft.com/office/drawing/2014/main" xmlns="" id="{4DA889FD-5315-497B-B6B2-4B66FCA115C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262" name="think-cell Slide" r:id="rId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96870872-1048-461D-840B-A494CAD32A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3">
            <a:extLst>
              <a:ext uri="{FF2B5EF4-FFF2-40B4-BE49-F238E27FC236}">
                <a16:creationId xmlns:a16="http://schemas.microsoft.com/office/drawing/2014/main" xmlns="" id="{6E283593-B97C-413A-B858-A0572A0949E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7263" name="think-cell Slide" r:id="rId7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7A64F2D0-3A09-44C4-8D90-B52F77314F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1" name="Object 117">
            <a:extLst>
              <a:ext uri="{FF2B5EF4-FFF2-40B4-BE49-F238E27FC236}">
                <a16:creationId xmlns:a16="http://schemas.microsoft.com/office/drawing/2014/main" xmlns="" id="{036C04F2-920E-430B-A698-4BD907B91C2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64" name="think-cell Slide" r:id="rId8" imgW="360" imgH="360" progId="">
              <p:embed/>
            </p:oleObj>
          </a:graphicData>
        </a:graphic>
      </p:graphicFrame>
      <p:sp>
        <p:nvSpPr>
          <p:cNvPr id="12" name="Rectangle 9" hidden="1">
            <a:extLst>
              <a:ext uri="{FF2B5EF4-FFF2-40B4-BE49-F238E27FC236}">
                <a16:creationId xmlns:a16="http://schemas.microsoft.com/office/drawing/2014/main" xmlns="" id="{F0839FF5-5474-4BB2-8A7C-6B18981900B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>
            <a:extLst>
              <a:ext uri="{FF2B5EF4-FFF2-40B4-BE49-F238E27FC236}">
                <a16:creationId xmlns:a16="http://schemas.microsoft.com/office/drawing/2014/main" xmlns="" id="{2D143B27-3D0B-4ACF-99AC-705623079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E8E19-07FD-43E3-B802-7C509C9E8AA2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4" name="Footer Placeholder 7">
            <a:extLst>
              <a:ext uri="{FF2B5EF4-FFF2-40B4-BE49-F238E27FC236}">
                <a16:creationId xmlns:a16="http://schemas.microsoft.com/office/drawing/2014/main" xmlns="" id="{D4BAB2AA-0D65-4C52-BF33-E3AD21D24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>
            <a:extLst>
              <a:ext uri="{FF2B5EF4-FFF2-40B4-BE49-F238E27FC236}">
                <a16:creationId xmlns:a16="http://schemas.microsoft.com/office/drawing/2014/main" xmlns="" id="{364A1ADD-8772-4580-BFFE-F35023B4B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8497C1-BF2A-4AEB-AEF8-3CBC2B8054D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541797891"/>
      </p:ext>
    </p:extLst>
  </p:cSld>
  <p:clrMapOvr>
    <a:masterClrMapping/>
  </p:clrMapOvr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9320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9321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39322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F8FE94-B797-4BCE-B099-AFBED5221AA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056376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0344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0345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0346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710EDDE-C001-458C-891B-376B995C6068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810303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1368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1369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1370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5D93852-69B9-4B5A-9137-DEF8F61BAA60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796599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2392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232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2393" name="think-cell Slide" r:id="rId7" imgW="360" imgH="360" progId="">
              <p:embed/>
            </p:oleObj>
          </a:graphicData>
        </a:graphic>
      </p:graphicFrame>
      <p:sp>
        <p:nvSpPr>
          <p:cNvPr id="6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2394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9AAD13-4F01-4363-88CB-9DCB5BCCEEB8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1802019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341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341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3418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71D08A2-D184-4500-BE18-66969051472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151393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4440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4441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3175"/>
        </p:xfrm>
        <a:graphic>
          <a:graphicData uri="http://schemas.openxmlformats.org/presentationml/2006/ole">
            <p:oleObj spid="_x0000_s144442" name="think-cell Slide" r:id="rId8" imgW="360" imgH="360" progId="">
              <p:embed/>
            </p:oleObj>
          </a:graphicData>
        </a:graphic>
      </p:graphicFrame>
      <p:sp>
        <p:nvSpPr>
          <p:cNvPr id="9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34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444500" y="254000"/>
            <a:ext cx="11912600" cy="10636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5571" eaLnBrk="1" hangingPunct="1">
              <a:defRPr/>
            </a:pPr>
            <a:endParaRPr lang="ru-RU" altLang="ru-RU" sz="2500" smtClean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1813565"/>
            <a:ext cx="12048173" cy="4716145"/>
          </a:xfrm>
        </p:spPr>
        <p:txBody>
          <a:bodyPr/>
          <a:lstStyle>
            <a:lvl1pPr>
              <a:defRPr sz="3400"/>
            </a:lvl1pPr>
            <a:lvl2pPr marL="959985" indent="-319995">
              <a:buFont typeface="Arial" panose="020B0604020202020204" pitchFamily="34" charset="0"/>
              <a:buChar char="−"/>
              <a:defRPr sz="2800"/>
            </a:lvl2pPr>
            <a:lvl3pPr marL="1599973" indent="-319995">
              <a:buFont typeface="Wingdings" panose="05000000000000000000" pitchFamily="2" charset="2"/>
              <a:buChar char="§"/>
              <a:defRPr sz="2500"/>
            </a:lvl3pPr>
            <a:lvl4pPr marL="2239962" indent="-319995">
              <a:buFont typeface="Courier New" panose="02070309020205020404" pitchFamily="49" charset="0"/>
              <a:buChar char="o"/>
              <a:defRPr sz="2200"/>
            </a:lvl4pPr>
            <a:lvl5pPr marL="2879952" indent="-319995">
              <a:buFont typeface="Wingdings" panose="05000000000000000000" pitchFamily="2" charset="2"/>
              <a:buChar char="ü"/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21875" y="9074150"/>
            <a:ext cx="2879725" cy="511175"/>
          </a:xfrm>
        </p:spPr>
        <p:txBody>
          <a:bodyPr/>
          <a:lstStyle>
            <a:lvl1pPr>
              <a:defRPr b="1"/>
            </a:lvl1pPr>
          </a:lstStyle>
          <a:p>
            <a:fld id="{AE4E2182-F6AB-4DAC-B426-4947FB4184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8671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5464" name="think-cell Slide" r:id="rId5" imgW="360" imgH="360" progId="">
              <p:embed/>
            </p:oleObj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5465" name="think-cell Slide" r:id="rId6" imgW="360" imgH="360" progId="">
              <p:embed/>
            </p:oleObj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02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145466" name="think-cell Slide" r:id="rId7" imgW="360" imgH="360" progId="">
              <p:embed/>
            </p:oleObj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11" y="137023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2037" y="1913407"/>
            <a:ext cx="5157453" cy="3841338"/>
          </a:xfrm>
        </p:spPr>
        <p:txBody>
          <a:bodyPr/>
          <a:lstStyle>
            <a:lvl1pPr marL="194713" indent="-194713">
              <a:buClr>
                <a:srgbClr val="830051"/>
              </a:buCl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7322039" y="1391044"/>
            <a:ext cx="5157454" cy="483204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5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96259" indent="0" algn="ctr">
              <a:buNone/>
              <a:defRPr sz="2200"/>
            </a:lvl2pPr>
            <a:lvl3pPr marL="992522" indent="0" algn="ctr">
              <a:buNone/>
              <a:defRPr sz="2000"/>
            </a:lvl3pPr>
            <a:lvl4pPr marL="1488781" indent="0" algn="ctr">
              <a:buNone/>
              <a:defRPr sz="1600"/>
            </a:lvl4pPr>
            <a:lvl5pPr marL="1985040" indent="0" algn="ctr">
              <a:buNone/>
              <a:defRPr sz="1600"/>
            </a:lvl5pPr>
            <a:lvl6pPr marL="2481302" indent="0" algn="ctr">
              <a:buNone/>
              <a:defRPr sz="1600"/>
            </a:lvl6pPr>
            <a:lvl7pPr marL="2977564" indent="0" algn="ctr">
              <a:buNone/>
              <a:defRPr sz="1600"/>
            </a:lvl7pPr>
            <a:lvl8pPr marL="3473821" indent="0" algn="ctr">
              <a:buNone/>
              <a:defRPr sz="1600"/>
            </a:lvl8pPr>
            <a:lvl9pPr marL="3970083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/>
          <a:lstStyle>
            <a:lvl1pPr marL="0" indent="0">
              <a:buNone/>
              <a:defRPr sz="13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62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75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>
              <a:defRPr/>
            </a:lvl1pPr>
          </a:lstStyle>
          <a:p>
            <a:fld id="{F9C45EF1-B77A-4A8B-9E61-AE72650A4D6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5012921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6506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6507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28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46508" name="think-cell Slide" r:id="rId8" imgW="360" imgH="360" progId="">
              <p:embed/>
            </p:oleObj>
          </a:graphicData>
        </a:graphic>
      </p:graphicFrame>
      <p:sp>
        <p:nvSpPr>
          <p:cNvPr id="9" name="Rectangle 7" hidden="1">
            <a:extLst/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2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0" name="Object 29"/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146509" name="think-cell Slide" r:id="rId9" imgW="360" imgH="360" progId="">
              <p:embed/>
            </p:oleObj>
          </a:graphicData>
        </a:graphic>
      </p:graphicFrame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09" y="137021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606" y="1746762"/>
            <a:ext cx="11740399" cy="7235880"/>
          </a:xfrm>
        </p:spPr>
        <p:txBody>
          <a:bodyPr/>
          <a:lstStyle>
            <a:lvl1pPr marL="194722" indent="-194722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 eaLnBrk="0" hangingPunct="0">
              <a:defRPr/>
            </a:lvl1pPr>
          </a:lstStyle>
          <a:p>
            <a:fld id="{E702B95A-0642-4F93-8602-287D3129092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898508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4100" name="think-cell Slide" r:id="rId5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4101" name="think-cell Slide" r:id="rId6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pic>
        <p:nvPicPr>
          <p:cNvPr id="8" name="Рисунок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" b="17937"/>
          <a:stretch>
            <a:fillRect/>
          </a:stretch>
        </p:blipFill>
        <p:spPr bwMode="auto">
          <a:xfrm>
            <a:off x="312738" y="2103438"/>
            <a:ext cx="12309475" cy="579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 userDrawn="1"/>
        </p:nvSpPr>
        <p:spPr>
          <a:xfrm>
            <a:off x="431800" y="2103438"/>
            <a:ext cx="9077325" cy="394970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0" y="2103208"/>
            <a:ext cx="8436761" cy="2635171"/>
          </a:xfrm>
        </p:spPr>
        <p:txBody>
          <a:bodyPr bIns="233966" anchor="b"/>
          <a:lstStyle>
            <a:lvl1pPr marL="574364" indent="0" algn="l">
              <a:defRPr sz="24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8" y="2555875"/>
            <a:ext cx="11961495" cy="6091873"/>
          </a:xfrm>
          <a:prstGeom prst="rect">
            <a:avLst/>
          </a:prstGeom>
        </p:spPr>
        <p:txBody>
          <a:bodyPr/>
          <a:lstStyle>
            <a:lvl1pPr marL="319995" indent="-319995" algn="l" defTabSz="1279980" rtl="0" eaLnBrk="1" latinLnBrk="0" hangingPunct="1">
              <a:lnSpc>
                <a:spcPct val="90000"/>
              </a:lnSpc>
              <a:spcBef>
                <a:spcPts val="1399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59985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599973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3996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7995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19942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59931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799919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39910" indent="-319995" algn="l" defTabSz="127998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954088" y="8899525"/>
            <a:ext cx="3119437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94225" y="8899525"/>
            <a:ext cx="4679950" cy="511175"/>
          </a:xfrm>
        </p:spPr>
        <p:txBody>
          <a:bodyPr/>
          <a:lstStyle>
            <a:lvl1pPr>
              <a:defRPr>
                <a:latin typeface="Helvetica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CFA736-31E2-49AA-8007-063245D8359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34903903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5133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5134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135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90" indent="0" algn="ctr">
              <a:buNone/>
              <a:defRPr sz="2800"/>
            </a:lvl2pPr>
            <a:lvl3pPr marL="1279980" indent="0" algn="ctr">
              <a:buNone/>
              <a:defRPr sz="2500"/>
            </a:lvl3pPr>
            <a:lvl4pPr marL="1919968" indent="0" algn="ctr">
              <a:buNone/>
              <a:defRPr sz="2200"/>
            </a:lvl4pPr>
            <a:lvl5pPr marL="2559957" indent="0" algn="ctr">
              <a:buNone/>
              <a:defRPr sz="2200"/>
            </a:lvl5pPr>
            <a:lvl6pPr marL="3199947" indent="0" algn="ctr">
              <a:buNone/>
              <a:defRPr sz="2200"/>
            </a:lvl6pPr>
            <a:lvl7pPr marL="3839935" indent="0" algn="ctr">
              <a:buNone/>
              <a:defRPr sz="2200"/>
            </a:lvl7pPr>
            <a:lvl8pPr marL="4479925" indent="0" algn="ctr">
              <a:buNone/>
              <a:defRPr sz="2200"/>
            </a:lvl8pPr>
            <a:lvl9pPr marL="5119915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EBE773-ADB5-4DB1-9635-32021B3DBD29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200BD1-DB98-4DBE-849B-00637530781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41192367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>
            <a:extLst>
              <a:ext uri="{FF2B5EF4-FFF2-40B4-BE49-F238E27FC236}">
                <a16:creationId xmlns:a16="http://schemas.microsoft.com/office/drawing/2014/main" xmlns="" id="{DCC0ADA8-AA6B-4459-BBBD-B7BCC370329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286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>
                <a16:creationId xmlns:a16="http://schemas.microsoft.com/office/drawing/2014/main" xmlns="" id="{13BCBA22-4B6C-4FF8-9F0A-30A05FDE9E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xmlns="" id="{F22663DA-1847-4246-A95C-9F9D830583A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8287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EFD618B3-7BBB-47C8-A527-9AAE5DE97F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117">
            <a:extLst>
              <a:ext uri="{FF2B5EF4-FFF2-40B4-BE49-F238E27FC236}">
                <a16:creationId xmlns:a16="http://schemas.microsoft.com/office/drawing/2014/main" xmlns="" id="{5C7342E4-8219-4E69-A8D9-44B86035042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88" name="think-cell Slide" r:id="rId8" imgW="360" imgH="360" progId="">
              <p:embed/>
            </p:oleObj>
          </a:graphicData>
        </a:graphic>
      </p:graphicFrame>
      <p:sp>
        <p:nvSpPr>
          <p:cNvPr id="8" name="Rectangle 5" hidden="1">
            <a:extLst>
              <a:ext uri="{FF2B5EF4-FFF2-40B4-BE49-F238E27FC236}">
                <a16:creationId xmlns:a16="http://schemas.microsoft.com/office/drawing/2014/main" xmlns="" id="{0B7B3278-3CC2-494D-93E4-BE64BEC0FAB5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xmlns="" id="{BF5A30B8-31F7-4A0C-8421-448718B3D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5F99C-FAEF-46D9-BA6F-508951AFA570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xmlns="" id="{4A8A20CE-50C3-4ED8-B56B-B67B76006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xmlns="" id="{4BED7F60-9A38-49CB-A7A8-A7B8EA37B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B7D224-0732-46DD-BB2B-68A10FF5524C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386361901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6157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6158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6159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5AE978-A27A-4426-BF5F-BF6D3FBFE07F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52980A5-C05F-4153-B784-074C3AEA575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144122872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7181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7182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7183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3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2" y="2393635"/>
            <a:ext cx="11041380" cy="3993832"/>
          </a:xfrm>
        </p:spPr>
        <p:txBody>
          <a:bodyPr anchor="b"/>
          <a:lstStyle>
            <a:lvl1pPr>
              <a:defRPr sz="83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2" y="6425250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/>
                </a:solidFill>
              </a:defRPr>
            </a:lvl1pPr>
            <a:lvl2pPr marL="63999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9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96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5995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199947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3993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7992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19915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3AB086-C7D4-43D0-B0C1-42A93CD61A46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0B4B61-4AE1-431B-A00F-C7E083F39624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756948586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8205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8206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8207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063392-80E4-408B-963B-CE2236F23DA6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73C9CA-975A-4E97-89F7-577796C31EF3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222533926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9229" name="think-cell Slide" r:id="rId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9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9230" name="think-cell Slide" r:id="rId7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1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9231" name="think-cell Slide" r:id="rId8" imgW="360" imgH="360" progId="">
              <p:embed/>
            </p:oleObj>
          </a:graphicData>
        </a:graphic>
      </p:graphicFrame>
      <p:sp>
        <p:nvSpPr>
          <p:cNvPr id="12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90" indent="0">
              <a:buNone/>
              <a:defRPr sz="2800" b="1"/>
            </a:lvl2pPr>
            <a:lvl3pPr marL="1279980" indent="0">
              <a:buNone/>
              <a:defRPr sz="2500" b="1"/>
            </a:lvl3pPr>
            <a:lvl4pPr marL="1919968" indent="0">
              <a:buNone/>
              <a:defRPr sz="2200" b="1"/>
            </a:lvl4pPr>
            <a:lvl5pPr marL="2559957" indent="0">
              <a:buNone/>
              <a:defRPr sz="2200" b="1"/>
            </a:lvl5pPr>
            <a:lvl6pPr marL="3199947" indent="0">
              <a:buNone/>
              <a:defRPr sz="2200" b="1"/>
            </a:lvl6pPr>
            <a:lvl7pPr marL="3839935" indent="0">
              <a:buNone/>
              <a:defRPr sz="2200" b="1"/>
            </a:lvl7pPr>
            <a:lvl8pPr marL="4479925" indent="0">
              <a:buNone/>
              <a:defRPr sz="2200" b="1"/>
            </a:lvl8pPr>
            <a:lvl9pPr marL="5119915" indent="0">
              <a:buNone/>
              <a:defRPr sz="2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8024C-90BA-4735-AC6B-400EF310F782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79984C-B81E-43C5-80ED-9731A34D7274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105978647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0253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0254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0255" name="think-cell Slide" r:id="rId8" imgW="360" imgH="360" progId="">
              <p:embed/>
            </p:oleObj>
          </a:graphicData>
        </a:graphic>
      </p:graphicFrame>
      <p:sp>
        <p:nvSpPr>
          <p:cNvPr id="8" name="Rectangle 5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11B99-788C-4E2A-93D4-FB254E90A1D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E70627-D213-4B06-9194-AFFFB719581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755361933"/>
      </p:ext>
    </p:extLst>
  </p:cSld>
  <p:clrMapOvr>
    <a:masterClrMapping/>
  </p:clrMapOvr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91F3F8-46EE-42FF-992C-674D959ED898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F7E625-1207-4D12-909E-50E42C1F667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341855251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1277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1278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1279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8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EBE0A3-DD6C-4953-A42E-B97D669B702B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AACA8A-FF4A-4A3A-8C87-BFDC596DE635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137499568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2301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2302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9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2303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8"/>
            <a:ext cx="6480810" cy="6823075"/>
          </a:xfrm>
        </p:spPr>
        <p:txBody>
          <a:bodyPr rtlCol="0">
            <a:normAutofit/>
          </a:bodyPr>
          <a:lstStyle>
            <a:lvl1pPr marL="0" indent="0">
              <a:buNone/>
              <a:defRPr sz="4500"/>
            </a:lvl1pPr>
            <a:lvl2pPr marL="639990" indent="0">
              <a:buNone/>
              <a:defRPr sz="3900"/>
            </a:lvl2pPr>
            <a:lvl3pPr marL="1279980" indent="0">
              <a:buNone/>
              <a:defRPr sz="3400"/>
            </a:lvl3pPr>
            <a:lvl4pPr marL="1919968" indent="0">
              <a:buNone/>
              <a:defRPr sz="2800"/>
            </a:lvl4pPr>
            <a:lvl5pPr marL="2559957" indent="0">
              <a:buNone/>
              <a:defRPr sz="2800"/>
            </a:lvl5pPr>
            <a:lvl6pPr marL="3199947" indent="0">
              <a:buNone/>
              <a:defRPr sz="2800"/>
            </a:lvl6pPr>
            <a:lvl7pPr marL="3839935" indent="0">
              <a:buNone/>
              <a:defRPr sz="2800"/>
            </a:lvl7pPr>
            <a:lvl8pPr marL="4479925" indent="0">
              <a:buNone/>
              <a:defRPr sz="2800"/>
            </a:lvl8pPr>
            <a:lvl9pPr marL="5119915" indent="0">
              <a:buNone/>
              <a:defRPr sz="28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22B199-6508-461A-ABA3-C8EB0846A817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3B4D71-8423-45E3-A574-4F5B343BD5F7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914118016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3325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3326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3327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31A650-F512-4DF2-91B0-632F6985C7B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DAF316-7B9E-48C9-8960-95786B4C6D5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57406848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4349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4350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51" name="think-cell Slide" r:id="rId8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356E13-ADD1-4F74-A122-0D410F5161B1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8B78C7-9390-4B4C-8851-54ECBBFF7B29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1811400847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D5CE4480-8A06-4A25-BE2C-FE805EEA0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65D185-4E79-425A-8420-E4B284AC7024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5F473D63-D22C-4A21-AC2E-A0023CB59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2CDA990D-4C56-43D4-B11C-49A331D09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6CEA57-33CC-4AC0-A3BB-9D9617088216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891016141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373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374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5375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79477" y="1016649"/>
            <a:ext cx="11042651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3E38B1-00CD-454A-9DD0-241FCD47239D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2666635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6397" name="think-cell Slide" r:id="rId10" imgW="360" imgH="360" progId="">
              <p:embed/>
            </p:oleObj>
          </a:graphicData>
        </a:graphic>
      </p:graphicFrame>
      <p:sp>
        <p:nvSpPr>
          <p:cNvPr id="21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22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6398" name="think-cell Slide" r:id="rId11" imgW="360" imgH="360" progId="">
              <p:embed/>
            </p:oleObj>
          </a:graphicData>
        </a:graphic>
      </p:graphicFrame>
      <p:sp>
        <p:nvSpPr>
          <p:cNvPr id="2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24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6399" name="think-cell Slide" r:id="rId12" imgW="360" imgH="360" progId="">
              <p:embed/>
            </p:oleObj>
          </a:graphicData>
        </a:graphic>
      </p:graphicFrame>
      <p:sp>
        <p:nvSpPr>
          <p:cNvPr id="2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6" name="Rectangle 20">
            <a:extLst>
              <a:ext uri="{FF2B5EF4-FFF2-40B4-BE49-F238E27FC236}"/>
            </a:extLst>
          </p:cNvPr>
          <p:cNvSpPr/>
          <p:nvPr userDrawn="1"/>
        </p:nvSpPr>
        <p:spPr>
          <a:xfrm>
            <a:off x="461963" y="1881188"/>
            <a:ext cx="2922587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7" name="Rectangle 21">
            <a:extLst>
              <a:ext uri="{FF2B5EF4-FFF2-40B4-BE49-F238E27FC236}"/>
            </a:extLst>
          </p:cNvPr>
          <p:cNvSpPr/>
          <p:nvPr userDrawn="1"/>
        </p:nvSpPr>
        <p:spPr>
          <a:xfrm>
            <a:off x="34464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8" name="Rectangle 23">
            <a:extLst>
              <a:ext uri="{FF2B5EF4-FFF2-40B4-BE49-F238E27FC236}"/>
            </a:extLst>
          </p:cNvPr>
          <p:cNvSpPr/>
          <p:nvPr userDrawn="1"/>
        </p:nvSpPr>
        <p:spPr>
          <a:xfrm>
            <a:off x="6430963" y="1881188"/>
            <a:ext cx="2924175" cy="614362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29" name="Flowchart: Off-page Connector 13">
            <a:extLst>
              <a:ext uri="{FF2B5EF4-FFF2-40B4-BE49-F238E27FC236}"/>
            </a:extLst>
          </p:cNvPr>
          <p:cNvSpPr/>
          <p:nvPr userDrawn="1"/>
        </p:nvSpPr>
        <p:spPr>
          <a:xfrm>
            <a:off x="34464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Заделы региона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0" name="Flowchart: Off-page Connector 14">
            <a:extLst>
              <a:ext uri="{FF2B5EF4-FFF2-40B4-BE49-F238E27FC236}"/>
            </a:extLst>
          </p:cNvPr>
          <p:cNvSpPr/>
          <p:nvPr userDrawn="1"/>
        </p:nvSpPr>
        <p:spPr>
          <a:xfrm>
            <a:off x="6430963" y="1492250"/>
            <a:ext cx="2924175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Тренды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1" name="TextBox 3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61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1.1. Ключевые показатели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61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1.2. Связанные отрасли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3446463" y="207486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1. Топ</a:t>
            </a:r>
            <a:r>
              <a:rPr lang="en-US" sz="1400" b="1" smtClean="0">
                <a:solidFill>
                  <a:prstClr val="white"/>
                </a:solidFill>
              </a:rPr>
              <a:t>-5 </a:t>
            </a:r>
            <a:r>
              <a:rPr lang="ru-RU" sz="1400" b="1" smtClean="0">
                <a:solidFill>
                  <a:prstClr val="white"/>
                </a:solidFill>
              </a:rPr>
              <a:t>орг-ий </a:t>
            </a:r>
            <a:r>
              <a:rPr lang="en-GB" sz="1400" b="1" smtClean="0">
                <a:solidFill>
                  <a:prstClr val="white"/>
                </a:solidFill>
              </a:rPr>
              <a:t>(&gt;50 </a:t>
            </a:r>
            <a:r>
              <a:rPr lang="ru-RU" sz="1400" b="1" smtClean="0">
                <a:solidFill>
                  <a:prstClr val="white"/>
                </a:solidFill>
              </a:rPr>
              <a:t>млн р.)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>
            <a:spLocks noChangeArrowheads="1"/>
          </p:cNvSpPr>
          <p:nvPr userDrawn="1"/>
        </p:nvSpPr>
        <p:spPr bwMode="auto">
          <a:xfrm>
            <a:off x="3446463" y="3846513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2 Ключевые продукты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5" name="Rectangle 22">
            <a:extLst>
              <a:ext uri="{FF2B5EF4-FFF2-40B4-BE49-F238E27FC236}"/>
            </a:extLst>
          </p:cNvPr>
          <p:cNvSpPr/>
          <p:nvPr userDrawn="1"/>
        </p:nvSpPr>
        <p:spPr>
          <a:xfrm>
            <a:off x="9417050" y="1881188"/>
            <a:ext cx="2922588" cy="614362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 userDrawn="1"/>
        </p:nvSpPr>
        <p:spPr bwMode="auto">
          <a:xfrm>
            <a:off x="3446463" y="5176838"/>
            <a:ext cx="2873375" cy="21590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  <p:txBody>
          <a:bodyPr lIns="7559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135" eaLnBrk="1" hangingPunct="1">
              <a:defRPr/>
            </a:pPr>
            <a:r>
              <a:rPr lang="ru-RU" sz="1400" b="1" smtClean="0">
                <a:solidFill>
                  <a:prstClr val="white"/>
                </a:solidFill>
              </a:rPr>
              <a:t>2.3. Ресурсы:</a:t>
            </a:r>
            <a:endParaRPr lang="en-GB" sz="1400" b="1" smtClean="0">
              <a:solidFill>
                <a:prstClr val="white"/>
              </a:solidFill>
            </a:endParaRPr>
          </a:p>
        </p:txBody>
      </p:sp>
      <p:sp>
        <p:nvSpPr>
          <p:cNvPr id="37" name="Flowchart: Off-page Connector 15">
            <a:extLst>
              <a:ext uri="{FF2B5EF4-FFF2-40B4-BE49-F238E27FC236}"/>
            </a:extLst>
          </p:cNvPr>
          <p:cNvSpPr/>
          <p:nvPr userDrawn="1"/>
        </p:nvSpPr>
        <p:spPr>
          <a:xfrm>
            <a:off x="9417050" y="1492250"/>
            <a:ext cx="2922588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1965" tIns="45713" rIns="0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Возможности локализаци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30963" y="2074863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3.1. Мировые тренды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23653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Новые продукты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30963" y="5176838"/>
            <a:ext cx="2873375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3.2. Российские тренды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Производство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</a:rPr>
              <a:t>, млрд руб.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3846513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Рабочие места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 (2017)</a:t>
            </a:r>
            <a:r>
              <a:rPr lang="ru-RU" sz="1400" dirty="0">
                <a:solidFill>
                  <a:prstClr val="black"/>
                </a:solidFill>
                <a:latin typeface="Arial"/>
              </a:rPr>
              <a:t>, тыс. ед.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3" name="TextBox 4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23653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Выручка (2017), млрд руб.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4" name="TextBox 43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Природные ресурсы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5" name="TextBox 4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3470275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Человеческий потенциал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6" name="TextBox 4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38369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Растущие рынки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5489575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Госполитика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5" name="TextBox 54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6454775" y="6732588"/>
            <a:ext cx="2773363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Импортозамещение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" name="TextBox 55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5489575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Отрасли-поставщики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9" name="TextBox 58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76250" y="6732588"/>
            <a:ext cx="2771775" cy="2159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/>
              </a:rPr>
              <a:t>Отрасли-потребители:</a:t>
            </a:r>
            <a:endParaRPr lang="en-GB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2074863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4.1. Поставщики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38369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4.2. Потребители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2" name="TextBox 6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5165725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4.3. Ремонт/монтаж оборуд-ия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9417050" y="6732588"/>
            <a:ext cx="2871788" cy="215900"/>
          </a:xfrm>
          <a:prstGeom prst="rect">
            <a:avLst/>
          </a:prstGeom>
          <a:solidFill>
            <a:schemeClr val="tx1"/>
          </a:solidFill>
        </p:spPr>
        <p:txBody>
          <a:bodyPr lIns="75590" tIns="0" rIns="0" bIns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white"/>
                </a:solidFill>
                <a:latin typeface="Arial"/>
              </a:rPr>
              <a:t>4.4. Новые продукты:</a:t>
            </a:r>
            <a:endParaRPr lang="en-GB" sz="14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8" name="Isosceles Triangle 66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476250" y="8069263"/>
            <a:ext cx="2908300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69" name="Isosceles Triangle 67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3460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0" name="Isosceles Triangle 68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64452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5" name="Isosceles Triangle 69">
            <a:extLst>
              <a:ext uri="{FF2B5EF4-FFF2-40B4-BE49-F238E27FC236}"/>
            </a:extLst>
          </p:cNvPr>
          <p:cNvSpPr/>
          <p:nvPr userDrawn="1"/>
        </p:nvSpPr>
        <p:spPr>
          <a:xfrm flipV="1">
            <a:off x="9429750" y="8069263"/>
            <a:ext cx="2909888" cy="144462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3500" dirty="0">
              <a:solidFill>
                <a:prstClr val="white"/>
              </a:solidFill>
            </a:endParaRPr>
          </a:p>
        </p:txBody>
      </p:sp>
      <p:sp>
        <p:nvSpPr>
          <p:cNvPr id="76" name="Flowchart: Off-page Connector 12">
            <a:extLst>
              <a:ext uri="{FF2B5EF4-FFF2-40B4-BE49-F238E27FC236}"/>
            </a:extLst>
          </p:cNvPr>
          <p:cNvSpPr/>
          <p:nvPr userDrawn="1"/>
        </p:nvSpPr>
        <p:spPr>
          <a:xfrm>
            <a:off x="461963" y="1492250"/>
            <a:ext cx="2922587" cy="515938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anchor="ctr"/>
          <a:lstStyle/>
          <a:p>
            <a:pPr algn="ctr" defTabSz="12799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Описание отрасли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7" name="Oval 16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34036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2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8" name="Oval 17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63896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3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79" name="Oval 18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419100" y="1366838"/>
            <a:ext cx="252413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1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80" name="Oval 19">
            <a:extLst>
              <a:ext uri="{FF2B5EF4-FFF2-40B4-BE49-F238E27FC236}"/>
            </a:extLst>
          </p:cNvPr>
          <p:cNvSpPr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9374188" y="1366838"/>
            <a:ext cx="250825" cy="2508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prstClr val="white"/>
                </a:solidFill>
              </a:rPr>
              <a:t>4</a:t>
            </a:r>
            <a:endParaRPr lang="en-GB" sz="1500" b="1" dirty="0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9" y="150131"/>
            <a:ext cx="11877429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4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46825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9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6898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0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5793" y="5739360"/>
            <a:ext cx="2864659" cy="963949"/>
          </a:xfrm>
          <a:prstGeom prst="rect">
            <a:avLst/>
          </a:prstGeom>
        </p:spPr>
        <p:txBody>
          <a:bodyPr lIns="53993" tIns="0" rIns="0" bIns="0"/>
          <a:lstStyle>
            <a:lvl1pPr marL="0" indent="504436"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68985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31566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31571" y="2636797"/>
            <a:ext cx="2878880" cy="1105066"/>
          </a:xfrm>
          <a:prstGeom prst="rect">
            <a:avLst/>
          </a:prstGeom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31566" y="4144191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7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6309" y="5739360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8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6309" y="6976516"/>
            <a:ext cx="2878880" cy="963949"/>
          </a:xfrm>
          <a:prstGeom prst="rect">
            <a:avLst/>
          </a:prstGeom>
        </p:spPr>
        <p:txBody>
          <a:bodyPr lIns="53993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416313" y="2366093"/>
            <a:ext cx="2878880" cy="1375773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16313" y="4144186"/>
            <a:ext cx="2878880" cy="992558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5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16313" y="5488794"/>
            <a:ext cx="2878880" cy="1214511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6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16313" y="6976516"/>
            <a:ext cx="2878880" cy="963949"/>
          </a:xfrm>
          <a:prstGeom prst="rect">
            <a:avLst/>
          </a:prstGeom>
          <a:noFill/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1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4152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2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441541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3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8930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indent="246662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4" name="Text Placeholder 37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16319" y="8273673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3993" tIns="0" rIns="0" bIns="0"/>
          <a:lstStyle>
            <a:lvl1pPr marL="0" marR="0" indent="246662" algn="l" defTabSz="12799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="" xmlns:p14="http://schemas.microsoft.com/office/powerpoint/2010/main" val="39196300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7421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7422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7423" name="think-cell Slide" r:id="rId8" imgW="360" imgH="360" progId="">
              <p:embed/>
            </p:oleObj>
          </a:graphicData>
        </a:graphic>
      </p:graphicFrame>
      <p:sp>
        <p:nvSpPr>
          <p:cNvPr id="8" name="Rectangle 2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139359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8445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8446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8447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5BA493-06A0-4F75-BD38-AD48AFDF6FF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964541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9469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9470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89471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D7E902-9226-463F-B688-A544247E4C3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4183468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0493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0494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0495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F97003B-2239-4BF6-8027-00E24BD61702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585589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1517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232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1518" name="think-cell Slide" r:id="rId7" imgW="360" imgH="360" progId="">
              <p:embed/>
            </p:oleObj>
          </a:graphicData>
        </a:graphic>
      </p:graphicFrame>
      <p:sp>
        <p:nvSpPr>
          <p:cNvPr id="6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Object 233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1519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31AB63-9B76-43F2-B720-42FCE0A1E62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800577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2541" name="think-cell Slide" r:id="rId6" imgW="360" imgH="360" progId="">
              <p:embed/>
            </p:oleObj>
          </a:graphicData>
        </a:graphic>
      </p:graphicFrame>
      <p:sp>
        <p:nvSpPr>
          <p:cNvPr id="4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5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2542" name="think-cell Slide" r:id="rId7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7" name="Object 11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2543" name="think-cell Slide" r:id="rId8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2800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1016650"/>
            <a:ext cx="11041380" cy="844847"/>
          </a:xfrm>
        </p:spPr>
        <p:txBody>
          <a:bodyPr lIns="0" tIns="0" rIns="0" bIns="0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036A581-E483-48B4-8A98-97B5D87960CE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3183172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3565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6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3566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8" name="Object 117"/>
          <p:cNvGraphicFramePr>
            <a:graphicFrameLocks noChangeAspect="1"/>
          </p:cNvGraphicFramePr>
          <p:nvPr/>
        </p:nvGraphicFramePr>
        <p:xfrm>
          <a:off x="1588" y="1588"/>
          <a:ext cx="1587" cy="3175"/>
        </p:xfrm>
        <a:graphic>
          <a:graphicData uri="http://schemas.openxmlformats.org/presentationml/2006/ole">
            <p:oleObj spid="_x0000_s193567" name="think-cell Slide" r:id="rId8" imgW="360" imgH="360" progId="">
              <p:embed/>
            </p:oleObj>
          </a:graphicData>
        </a:graphic>
      </p:graphicFrame>
      <p:sp>
        <p:nvSpPr>
          <p:cNvPr id="9" name="Rectangle 12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ru-RU" sz="3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444500" y="254000"/>
            <a:ext cx="11912600" cy="10636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5571" eaLnBrk="1" hangingPunct="1">
              <a:defRPr/>
            </a:pPr>
            <a:endParaRPr lang="ru-RU" altLang="ru-RU" sz="2500" smtClean="0">
              <a:solidFill>
                <a:prstClr val="black"/>
              </a:solidFill>
            </a:endParaRPr>
          </a:p>
        </p:txBody>
      </p:sp>
      <p:sp>
        <p:nvSpPr>
          <p:cNvPr id="12" name="Title 1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1813565"/>
            <a:ext cx="12048173" cy="4716145"/>
          </a:xfrm>
        </p:spPr>
        <p:txBody>
          <a:bodyPr/>
          <a:lstStyle>
            <a:lvl1pPr>
              <a:defRPr sz="3400"/>
            </a:lvl1pPr>
            <a:lvl2pPr marL="959985" indent="-319995">
              <a:buFont typeface="Arial" panose="020B0604020202020204" pitchFamily="34" charset="0"/>
              <a:buChar char="−"/>
              <a:defRPr sz="2800"/>
            </a:lvl2pPr>
            <a:lvl3pPr marL="1599973" indent="-319995">
              <a:buFont typeface="Wingdings" panose="05000000000000000000" pitchFamily="2" charset="2"/>
              <a:buChar char="§"/>
              <a:defRPr sz="2500"/>
            </a:lvl3pPr>
            <a:lvl4pPr marL="2239962" indent="-319995">
              <a:buFont typeface="Courier New" panose="02070309020205020404" pitchFamily="49" charset="0"/>
              <a:buChar char="o"/>
              <a:defRPr sz="2200"/>
            </a:lvl4pPr>
            <a:lvl5pPr marL="2879952" indent="-319995">
              <a:buFont typeface="Wingdings" panose="05000000000000000000" pitchFamily="2" charset="2"/>
              <a:buChar char="ü"/>
              <a:defRPr sz="2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21875" y="9074150"/>
            <a:ext cx="2879725" cy="511175"/>
          </a:xfrm>
        </p:spPr>
        <p:txBody>
          <a:bodyPr/>
          <a:lstStyle>
            <a:lvl1pPr>
              <a:defRPr b="1"/>
            </a:lvl1pPr>
          </a:lstStyle>
          <a:p>
            <a:fld id="{DA2C3D8E-BB85-4C38-9C17-C935F41DC92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092253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4589" name="think-cell Slide" r:id="rId5" imgW="360" imgH="360" progId="">
              <p:embed/>
            </p:oleObj>
          </a:graphicData>
        </a:graphic>
      </p:graphicFrame>
      <p:sp>
        <p:nvSpPr>
          <p:cNvPr id="9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0" name="Object 10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4590" name="think-cell Slide" r:id="rId6" imgW="360" imgH="360" progId="">
              <p:embed/>
            </p:oleObj>
          </a:graphicData>
        </a:graphic>
      </p:graphicFrame>
      <p:sp>
        <p:nvSpPr>
          <p:cNvPr id="13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02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194591" name="think-cell Slide" r:id="rId7" imgW="360" imgH="360" progId="">
              <p:embed/>
            </p:oleObj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11" y="137023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22037" y="1913407"/>
            <a:ext cx="5157453" cy="3841338"/>
          </a:xfrm>
        </p:spPr>
        <p:txBody>
          <a:bodyPr/>
          <a:lstStyle>
            <a:lvl1pPr marL="194713" indent="-194713">
              <a:buClr>
                <a:srgbClr val="830051"/>
              </a:buClr>
              <a:defRPr sz="1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7322039" y="1391044"/>
            <a:ext cx="5157454" cy="483204"/>
          </a:xfrm>
        </p:spPr>
        <p:txBody>
          <a:bodyPr tIns="105826" anchor="ctr">
            <a:noAutofit/>
          </a:bodyPr>
          <a:lstStyle>
            <a:lvl1pPr marL="0" indent="0" algn="l">
              <a:buNone/>
              <a:defRPr sz="15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96259" indent="0" algn="ctr">
              <a:buNone/>
              <a:defRPr sz="2200"/>
            </a:lvl2pPr>
            <a:lvl3pPr marL="992522" indent="0" algn="ctr">
              <a:buNone/>
              <a:defRPr sz="2000"/>
            </a:lvl3pPr>
            <a:lvl4pPr marL="1488781" indent="0" algn="ctr">
              <a:buNone/>
              <a:defRPr sz="1600"/>
            </a:lvl4pPr>
            <a:lvl5pPr marL="1985040" indent="0" algn="ctr">
              <a:buNone/>
              <a:defRPr sz="1600"/>
            </a:lvl5pPr>
            <a:lvl6pPr marL="2481302" indent="0" algn="ctr">
              <a:buNone/>
              <a:defRPr sz="1600"/>
            </a:lvl6pPr>
            <a:lvl7pPr marL="2977564" indent="0" algn="ctr">
              <a:buNone/>
              <a:defRPr sz="1600"/>
            </a:lvl7pPr>
            <a:lvl8pPr marL="3473821" indent="0" algn="ctr">
              <a:buNone/>
              <a:defRPr sz="1600"/>
            </a:lvl8pPr>
            <a:lvl9pPr marL="3970083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/>
          <a:lstStyle>
            <a:lvl1pPr marL="0" indent="0">
              <a:buNone/>
              <a:defRPr sz="13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62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75" y="5970098"/>
            <a:ext cx="2497623" cy="2587640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>
              <a:defRPr/>
            </a:lvl1pPr>
          </a:lstStyle>
          <a:p>
            <a:fld id="{3AE8BF6C-BC94-436D-A5AA-7C16C7BB75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22162479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20">
            <a:extLst>
              <a:ext uri="{FF2B5EF4-FFF2-40B4-BE49-F238E27FC236}">
                <a16:creationId xmlns:a16="http://schemas.microsoft.com/office/drawing/2014/main" xmlns="" id="{BA57AFB9-E77B-4375-8243-B09173F2355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310" name="think-cell Slide" r:id="rId6" imgW="360" imgH="360" progId="">
              <p:embed/>
            </p:oleObj>
          </a:graphicData>
        </a:graphic>
      </p:graphicFrame>
      <p:sp>
        <p:nvSpPr>
          <p:cNvPr id="6" name="Rectangle 7" hidden="1">
            <a:extLst>
              <a:ext uri="{FF2B5EF4-FFF2-40B4-BE49-F238E27FC236}">
                <a16:creationId xmlns:a16="http://schemas.microsoft.com/office/drawing/2014/main" xmlns="" id="{8ACB49A2-082C-42B0-862D-A016CA954E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xmlns="" id="{5CE5EDCA-CD9A-47BB-A12A-9CF1E7C5255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9311" name="think-cell Slide" r:id="rId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1606B9C6-0989-4F91-B480-B8FF60327D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" name="Object 117">
            <a:extLst>
              <a:ext uri="{FF2B5EF4-FFF2-40B4-BE49-F238E27FC236}">
                <a16:creationId xmlns:a16="http://schemas.microsoft.com/office/drawing/2014/main" xmlns="" id="{BDFD3A7B-D7E9-47B2-BC36-977FE8CF2E3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312" name="think-cell Slide" r:id="rId8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>
                <a16:creationId xmlns:a16="http://schemas.microsoft.com/office/drawing/2014/main" xmlns="" id="{3081D4F4-8857-43F3-B5A4-3FACA2E27AD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5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81" y="640080"/>
            <a:ext cx="4128849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8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81" y="2880360"/>
            <a:ext cx="4128849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39990" indent="0">
              <a:buNone/>
              <a:defRPr sz="2000"/>
            </a:lvl2pPr>
            <a:lvl3pPr marL="1279980" indent="0">
              <a:buNone/>
              <a:defRPr sz="1600"/>
            </a:lvl3pPr>
            <a:lvl4pPr marL="1919968" indent="0">
              <a:buNone/>
              <a:defRPr sz="1400"/>
            </a:lvl4pPr>
            <a:lvl5pPr marL="2559957" indent="0">
              <a:buNone/>
              <a:defRPr sz="1400"/>
            </a:lvl5pPr>
            <a:lvl6pPr marL="3199947" indent="0">
              <a:buNone/>
              <a:defRPr sz="1400"/>
            </a:lvl6pPr>
            <a:lvl7pPr marL="3839935" indent="0">
              <a:buNone/>
              <a:defRPr sz="1400"/>
            </a:lvl7pPr>
            <a:lvl8pPr marL="4479925" indent="0">
              <a:buNone/>
              <a:defRPr sz="1400"/>
            </a:lvl8pPr>
            <a:lvl9pPr marL="511991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Date Placeholder 4">
            <a:extLst>
              <a:ext uri="{FF2B5EF4-FFF2-40B4-BE49-F238E27FC236}">
                <a16:creationId xmlns:a16="http://schemas.microsoft.com/office/drawing/2014/main" xmlns="" id="{2E0D2871-698B-499B-A9B0-E29008BC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603335-A307-4B72-955B-8139FC588B7F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6C5F33E3-6FFA-40F6-8D67-0D18EC9C9A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0DDEC60-C90B-4546-9CE3-B82050EB8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433000-BA12-4A06-B1E9-E18F18C456E1}" type="slidenum">
              <a:rPr lang="en-GB" altLang="ru-RU"/>
              <a:pPr/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="" xmlns:p14="http://schemas.microsoft.com/office/powerpoint/2010/main" val="507122143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22210" name="think-cell Slide" r:id="rId6" imgW="360" imgH="360" progId="">
              <p:embed/>
            </p:oleObj>
          </a:graphicData>
        </a:graphic>
      </p:graphicFrame>
      <p:sp>
        <p:nvSpPr>
          <p:cNvPr id="5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22211" name="think-cell Slide" r:id="rId7" imgW="360" imgH="360" progId="">
              <p:embed/>
            </p:oleObj>
          </a:graphicData>
        </a:graphic>
      </p:graphicFrame>
      <p:sp>
        <p:nvSpPr>
          <p:cNvPr id="7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8" name="Object 28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222212" name="think-cell Slide" r:id="rId8" imgW="360" imgH="360" progId="">
              <p:embed/>
            </p:oleObj>
          </a:graphicData>
        </a:graphic>
      </p:graphicFrame>
      <p:sp>
        <p:nvSpPr>
          <p:cNvPr id="9" name="Rectangle 7" hidden="1">
            <a:extLst/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2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200" dirty="0">
              <a:solidFill>
                <a:prstClr val="white"/>
              </a:solidFill>
              <a:ea typeface="+mj-ea"/>
              <a:cs typeface="+mj-cs"/>
            </a:endParaRPr>
          </a:p>
        </p:txBody>
      </p:sp>
      <p:graphicFrame>
        <p:nvGraphicFramePr>
          <p:cNvPr id="10" name="Object 29"/>
          <p:cNvGraphicFramePr>
            <a:graphicFrameLocks noChangeAspect="1"/>
          </p:cNvGraphicFramePr>
          <p:nvPr/>
        </p:nvGraphicFramePr>
        <p:xfrm>
          <a:off x="1588" y="1588"/>
          <a:ext cx="0" cy="0"/>
        </p:xfrm>
        <a:graphic>
          <a:graphicData uri="http://schemas.openxmlformats.org/presentationml/2006/ole">
            <p:oleObj spid="_x0000_s222213" name="think-cell Slide" r:id="rId9" imgW="360" imgH="360" progId="">
              <p:embed/>
            </p:oleObj>
          </a:graphicData>
        </a:graphic>
      </p:graphicFrame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554038" y="1290638"/>
            <a:ext cx="11925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1666538" y="161925"/>
            <a:ext cx="881062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609" y="137021"/>
            <a:ext cx="10181297" cy="1106685"/>
          </a:xfrm>
        </p:spPr>
        <p:txBody>
          <a:bodyPr/>
          <a:lstStyle>
            <a:lvl1pPr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606" y="1746762"/>
            <a:ext cx="11740399" cy="7235880"/>
          </a:xfrm>
        </p:spPr>
        <p:txBody>
          <a:bodyPr/>
          <a:lstStyle>
            <a:lvl1pPr marL="194722" indent="-194722">
              <a:buClr>
                <a:srgbClr val="830051"/>
              </a:buCl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5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879475" y="8980488"/>
            <a:ext cx="2881313" cy="51117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213" y="8980488"/>
            <a:ext cx="4321175" cy="511175"/>
          </a:xfrm>
        </p:spPr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938" y="9040813"/>
            <a:ext cx="660400" cy="395287"/>
          </a:xfrm>
        </p:spPr>
        <p:txBody>
          <a:bodyPr/>
          <a:lstStyle>
            <a:lvl1pPr eaLnBrk="0" hangingPunct="0">
              <a:defRPr/>
            </a:lvl1pPr>
          </a:lstStyle>
          <a:p>
            <a:fld id="{455F05E4-840C-4313-8C1E-1B9CCFD7F84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oleObject" Target="../embeddings/oleObject64.bin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ags" Target="../tags/tag68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vmlDrawing" Target="../drawings/vmlDrawing23.v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ags" Target="../tags/tag134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vmlDrawing" Target="../drawings/vmlDrawing45.v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oleObject" Target="../embeddings/oleObject12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tags" Target="../tags/tag20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vmlDrawing" Target="../drawings/vmlDrawing68.v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oleObject" Target="../embeddings/oleObject19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xmlns="" id="{9F5A0745-F584-4B88-AA31-D6FECADB8EE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79475" y="511175"/>
            <a:ext cx="11042650" cy="185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xmlns="" id="{800D1BFD-8BB1-4909-8AE7-CD8E52B00B6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79475" y="2555875"/>
            <a:ext cx="11042650" cy="609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7C25CFD-7D0C-425A-92E8-A114C22604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9475" y="8899525"/>
            <a:ext cx="2881313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E294CA6-C9D8-452B-8874-40AE16AB677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AABE474-AE06-4981-90AC-2C2A9E088E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0213" y="8899525"/>
            <a:ext cx="4321175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3F28177-4277-408B-A5CB-A784167CB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0813" y="8899525"/>
            <a:ext cx="2881312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</a:defRPr>
            </a:lvl1pPr>
          </a:lstStyle>
          <a:p>
            <a:fld id="{CB3D240D-A854-4D4A-B51B-6C0A9B9BE029}" type="slidenum">
              <a:rPr lang="en-GB" altLang="ru-RU"/>
              <a:pPr/>
              <a:t>‹#›</a:t>
            </a:fld>
            <a:endParaRPr lang="en-GB" altLang="ru-RU"/>
          </a:p>
        </p:txBody>
      </p:sp>
      <p:graphicFrame>
        <p:nvGraphicFramePr>
          <p:cNvPr id="1031" name="Object 120">
            <a:extLst>
              <a:ext uri="{FF2B5EF4-FFF2-40B4-BE49-F238E27FC236}">
                <a16:creationId xmlns:a16="http://schemas.microsoft.com/office/drawing/2014/main" xmlns="" id="{2183AB70-2B14-44E4-93CE-4D1CFBF1823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056" name="think-cell Slide" r:id="rId2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0A70A0D3-F638-492C-A98B-3ADA11CA1C6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ea typeface="+mj-ea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5634" r:id="rId1"/>
    <p:sldLayoutId id="2147495635" r:id="rId2"/>
    <p:sldLayoutId id="2147495636" r:id="rId3"/>
    <p:sldLayoutId id="2147495637" r:id="rId4"/>
    <p:sldLayoutId id="2147495638" r:id="rId5"/>
    <p:sldLayoutId id="2147495639" r:id="rId6"/>
    <p:sldLayoutId id="2147495640" r:id="rId7"/>
    <p:sldLayoutId id="2147495631" r:id="rId8"/>
    <p:sldLayoutId id="2147495641" r:id="rId9"/>
    <p:sldLayoutId id="2147495642" r:id="rId10"/>
    <p:sldLayoutId id="2147495643" r:id="rId11"/>
    <p:sldLayoutId id="2147495644" r:id="rId12"/>
    <p:sldLayoutId id="2147495645" r:id="rId13"/>
    <p:sldLayoutId id="2147495646" r:id="rId14"/>
    <p:sldLayoutId id="2147495647" r:id="rId15"/>
    <p:sldLayoutId id="2147495648" r:id="rId16"/>
    <p:sldLayoutId id="2147495649" r:id="rId17"/>
    <p:sldLayoutId id="2147495650" r:id="rId18"/>
    <p:sldLayoutId id="2147495651" r:id="rId19"/>
    <p:sldLayoutId id="2147495652" r:id="rId20"/>
    <p:sldLayoutId id="2147495653" r:id="rId21"/>
    <p:sldLayoutId id="2147495654" r:id="rId22"/>
  </p:sldLayoutIdLst>
  <p:hf hdr="0" ftr="0" dt="0"/>
  <p:txStyles>
    <p:titleStyle>
      <a:lvl1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2pPr>
      <a:lvl3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3pPr>
      <a:lvl4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4pPr>
      <a:lvl5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5pPr>
      <a:lvl6pPr marL="45713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6pPr>
      <a:lvl7pPr marL="914269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7pPr>
      <a:lvl8pPr marL="137140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8pPr>
      <a:lvl9pPr marL="1828541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9pPr>
    </p:titleStyle>
    <p:bodyStyle>
      <a:lvl1pPr marL="315913" indent="-315913" algn="l" defTabSz="1276350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Font typeface="Arial" panose="020B0604020202020204" pitchFamily="34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5567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59702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6788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6550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942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931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919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910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9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98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968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95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94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93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92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91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>
            <a:extLst>
              <a:ext uri="{FF2B5EF4-FFF2-40B4-BE49-F238E27FC236}">
                <a16:creationId xmlns:a16="http://schemas.microsoft.com/office/drawing/2014/main" xmlns="" id="{0D0B2344-D9DA-4038-9AAC-259460F4781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79475" y="511175"/>
            <a:ext cx="11042650" cy="185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</a:p>
        </p:txBody>
      </p:sp>
      <p:sp>
        <p:nvSpPr>
          <p:cNvPr id="4099" name="Text Placeholder 2">
            <a:extLst>
              <a:ext uri="{FF2B5EF4-FFF2-40B4-BE49-F238E27FC236}">
                <a16:creationId xmlns:a16="http://schemas.microsoft.com/office/drawing/2014/main" xmlns="" id="{2F792078-F27E-43BD-9244-0FFA92838C0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79475" y="2555875"/>
            <a:ext cx="11042650" cy="609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70842CB-6AAE-4403-85A8-7BCB516993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9475" y="8899525"/>
            <a:ext cx="2881313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72AF7BC-36C4-4393-9382-3412006C2CFC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89A5336-2295-49A1-AD37-835F6551B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0213" y="8899525"/>
            <a:ext cx="4321175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A6E4291-8AF8-4EF6-97C9-9E61ADF1A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0813" y="8899525"/>
            <a:ext cx="2881312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</a:defRPr>
            </a:lvl1pPr>
          </a:lstStyle>
          <a:p>
            <a:fld id="{5508F3FC-473B-484D-9767-5AE56DCF1FA0}" type="slidenum">
              <a:rPr lang="en-GB" altLang="ru-RU"/>
              <a:pPr/>
              <a:t>‹#›</a:t>
            </a:fld>
            <a:endParaRPr lang="en-GB" altLang="ru-RU"/>
          </a:p>
        </p:txBody>
      </p:sp>
      <p:graphicFrame>
        <p:nvGraphicFramePr>
          <p:cNvPr id="4103" name="Object 120">
            <a:extLst>
              <a:ext uri="{FF2B5EF4-FFF2-40B4-BE49-F238E27FC236}">
                <a16:creationId xmlns:a16="http://schemas.microsoft.com/office/drawing/2014/main" xmlns="" id="{07B93DC8-E195-4D29-BEF6-22515E60CF3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69664" name="think-cell Slide" r:id="rId26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64C56D19-4B1A-4C4E-ADED-E286BF763333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5698" r:id="rId1"/>
    <p:sldLayoutId id="2147495699" r:id="rId2"/>
    <p:sldLayoutId id="2147495700" r:id="rId3"/>
    <p:sldLayoutId id="2147495701" r:id="rId4"/>
    <p:sldLayoutId id="2147495702" r:id="rId5"/>
    <p:sldLayoutId id="2147495703" r:id="rId6"/>
    <p:sldLayoutId id="2147495704" r:id="rId7"/>
    <p:sldLayoutId id="2147495633" r:id="rId8"/>
    <p:sldLayoutId id="2147495705" r:id="rId9"/>
    <p:sldLayoutId id="2147495706" r:id="rId10"/>
    <p:sldLayoutId id="2147495707" r:id="rId11"/>
    <p:sldLayoutId id="2147495708" r:id="rId12"/>
    <p:sldLayoutId id="2147495709" r:id="rId13"/>
    <p:sldLayoutId id="2147495710" r:id="rId14"/>
    <p:sldLayoutId id="2147495711" r:id="rId15"/>
    <p:sldLayoutId id="2147495712" r:id="rId16"/>
    <p:sldLayoutId id="2147495713" r:id="rId17"/>
    <p:sldLayoutId id="2147495714" r:id="rId18"/>
    <p:sldLayoutId id="2147495715" r:id="rId19"/>
    <p:sldLayoutId id="2147495716" r:id="rId20"/>
    <p:sldLayoutId id="2147495717" r:id="rId21"/>
    <p:sldLayoutId id="2147495718" r:id="rId22"/>
  </p:sldLayoutIdLst>
  <p:hf hdr="0" ftr="0" dt="0"/>
  <p:txStyles>
    <p:titleStyle>
      <a:lvl1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2pPr>
      <a:lvl3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3pPr>
      <a:lvl4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4pPr>
      <a:lvl5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5pPr>
      <a:lvl6pPr marL="45713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6pPr>
      <a:lvl7pPr marL="914269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7pPr>
      <a:lvl8pPr marL="137140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8pPr>
      <a:lvl9pPr marL="1828541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9pPr>
    </p:titleStyle>
    <p:bodyStyle>
      <a:lvl1pPr marL="315913" indent="-315913" algn="l" defTabSz="1276350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Font typeface="Arial" panose="020B0604020202020204" pitchFamily="34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5567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59702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6788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6550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942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931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919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910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9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98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968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95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94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93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92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91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79475" y="511175"/>
            <a:ext cx="11042650" cy="185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79475" y="2555875"/>
            <a:ext cx="11042650" cy="609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9475" y="8899525"/>
            <a:ext cx="2881313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0C85AC0-79FF-47B5-B7D3-3D28CFDC89CC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213" y="8899525"/>
            <a:ext cx="4321175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0813" y="8899525"/>
            <a:ext cx="2881312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</a:defRPr>
            </a:lvl1pPr>
          </a:lstStyle>
          <a:p>
            <a:fld id="{E5EB2615-6CB3-40F4-8044-B8313B70A0A7}" type="slidenum">
              <a:rPr lang="en-GB" altLang="ru-RU">
                <a:latin typeface="Arial" charset="0"/>
                <a:cs typeface="Arial" charset="0"/>
              </a:rPr>
              <a:pPr/>
              <a:t>‹#›</a:t>
            </a:fld>
            <a:endParaRPr lang="en-GB" altLang="ru-RU">
              <a:latin typeface="Arial" charset="0"/>
              <a:cs typeface="Arial" charset="0"/>
            </a:endParaRPr>
          </a:p>
        </p:txBody>
      </p:sp>
      <p:graphicFrame>
        <p:nvGraphicFramePr>
          <p:cNvPr id="1031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23924" name="think-cell Slide" r:id="rId2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1043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20" r:id="rId1"/>
    <p:sldLayoutId id="2147495721" r:id="rId2"/>
    <p:sldLayoutId id="2147495722" r:id="rId3"/>
    <p:sldLayoutId id="2147495723" r:id="rId4"/>
    <p:sldLayoutId id="2147495724" r:id="rId5"/>
    <p:sldLayoutId id="2147495725" r:id="rId6"/>
    <p:sldLayoutId id="2147495726" r:id="rId7"/>
    <p:sldLayoutId id="2147495727" r:id="rId8"/>
    <p:sldLayoutId id="2147495728" r:id="rId9"/>
    <p:sldLayoutId id="2147495729" r:id="rId10"/>
    <p:sldLayoutId id="2147495730" r:id="rId11"/>
    <p:sldLayoutId id="2147495731" r:id="rId12"/>
    <p:sldLayoutId id="2147495732" r:id="rId13"/>
    <p:sldLayoutId id="2147495733" r:id="rId14"/>
    <p:sldLayoutId id="2147495734" r:id="rId15"/>
    <p:sldLayoutId id="2147495735" r:id="rId16"/>
    <p:sldLayoutId id="2147495736" r:id="rId17"/>
    <p:sldLayoutId id="2147495737" r:id="rId18"/>
    <p:sldLayoutId id="2147495738" r:id="rId19"/>
    <p:sldLayoutId id="2147495739" r:id="rId20"/>
    <p:sldLayoutId id="2147495740" r:id="rId21"/>
    <p:sldLayoutId id="2147495741" r:id="rId22"/>
    <p:sldLayoutId id="2147495742" r:id="rId23"/>
  </p:sldLayoutIdLst>
  <p:hf hdr="0" ftr="0" dt="0"/>
  <p:txStyles>
    <p:titleStyle>
      <a:lvl1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2pPr>
      <a:lvl3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3pPr>
      <a:lvl4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4pPr>
      <a:lvl5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5pPr>
      <a:lvl6pPr marL="45713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6pPr>
      <a:lvl7pPr marL="914269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7pPr>
      <a:lvl8pPr marL="137140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8pPr>
      <a:lvl9pPr marL="1828541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9pPr>
    </p:titleStyle>
    <p:bodyStyle>
      <a:lvl1pPr marL="315913" indent="-315913" algn="l" defTabSz="1276350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Font typeface="Arial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5567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59702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6788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6550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942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931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919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910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9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98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968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95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94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93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92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91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79475" y="511175"/>
            <a:ext cx="11042650" cy="185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79475" y="2555875"/>
            <a:ext cx="11042650" cy="609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9475" y="8899525"/>
            <a:ext cx="2881313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4AF5A97-3480-41AC-B482-260E5ECECB5A}" type="datetimeFigureOut">
              <a:rPr lang="en-US"/>
              <a:pPr>
                <a:defRPr/>
              </a:pPr>
              <a:t>10/1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213" y="8899525"/>
            <a:ext cx="4321175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6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0813" y="8899525"/>
            <a:ext cx="2881312" cy="511175"/>
          </a:xfrm>
          <a:prstGeom prst="rect">
            <a:avLst/>
          </a:prstGeom>
        </p:spPr>
        <p:txBody>
          <a:bodyPr vert="horz" wrap="square" lIns="91426" tIns="45713" rIns="91426" bIns="45713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>
                <a:solidFill>
                  <a:srgbClr val="898989"/>
                </a:solidFill>
              </a:defRPr>
            </a:lvl1pPr>
          </a:lstStyle>
          <a:p>
            <a:fld id="{2F497FED-FD04-41FC-A639-7BF4BF79A6D3}" type="slidenum">
              <a:rPr lang="en-GB" altLang="ru-RU" smtClean="0"/>
              <a:pPr/>
              <a:t>‹#›</a:t>
            </a:fld>
            <a:endParaRPr lang="en-GB" altLang="ru-RU" smtClean="0"/>
          </a:p>
        </p:txBody>
      </p:sp>
      <p:graphicFrame>
        <p:nvGraphicFramePr>
          <p:cNvPr id="1031" name="Object 120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73067" name="think-cell Slide" r:id="rId27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lnSpc>
                <a:spcPct val="90000"/>
              </a:lnSpc>
              <a:defRPr/>
            </a:pPr>
            <a:endParaRPr lang="en-US" sz="61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62449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768" r:id="rId1"/>
    <p:sldLayoutId id="2147495769" r:id="rId2"/>
    <p:sldLayoutId id="2147495770" r:id="rId3"/>
    <p:sldLayoutId id="2147495771" r:id="rId4"/>
    <p:sldLayoutId id="2147495772" r:id="rId5"/>
    <p:sldLayoutId id="2147495773" r:id="rId6"/>
    <p:sldLayoutId id="2147495774" r:id="rId7"/>
    <p:sldLayoutId id="2147495775" r:id="rId8"/>
    <p:sldLayoutId id="2147495776" r:id="rId9"/>
    <p:sldLayoutId id="2147495777" r:id="rId10"/>
    <p:sldLayoutId id="2147495778" r:id="rId11"/>
    <p:sldLayoutId id="2147495779" r:id="rId12"/>
    <p:sldLayoutId id="2147495780" r:id="rId13"/>
    <p:sldLayoutId id="2147495781" r:id="rId14"/>
    <p:sldLayoutId id="2147495782" r:id="rId15"/>
    <p:sldLayoutId id="2147495783" r:id="rId16"/>
    <p:sldLayoutId id="2147495784" r:id="rId17"/>
    <p:sldLayoutId id="2147495785" r:id="rId18"/>
    <p:sldLayoutId id="2147495786" r:id="rId19"/>
    <p:sldLayoutId id="2147495787" r:id="rId20"/>
    <p:sldLayoutId id="2147495788" r:id="rId21"/>
    <p:sldLayoutId id="2147495789" r:id="rId22"/>
    <p:sldLayoutId id="2147495790" r:id="rId23"/>
  </p:sldLayoutIdLst>
  <p:hf hdr="0" ftr="0" dt="0"/>
  <p:txStyles>
    <p:titleStyle>
      <a:lvl1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2pPr>
      <a:lvl3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3pPr>
      <a:lvl4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4pPr>
      <a:lvl5pPr algn="l" defTabSz="1276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5pPr>
      <a:lvl6pPr marL="45713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6pPr>
      <a:lvl7pPr marL="914269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7pPr>
      <a:lvl8pPr marL="1371405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8pPr>
      <a:lvl9pPr marL="1828541" algn="l" defTabSz="1279342" rtl="0" fontAlgn="base">
        <a:lnSpc>
          <a:spcPct val="90000"/>
        </a:lnSpc>
        <a:spcBef>
          <a:spcPct val="0"/>
        </a:spcBef>
        <a:spcAft>
          <a:spcPct val="0"/>
        </a:spcAft>
        <a:defRPr sz="6100">
          <a:solidFill>
            <a:schemeClr val="tx1"/>
          </a:solidFill>
          <a:latin typeface="Arial" pitchFamily="34" charset="0"/>
        </a:defRPr>
      </a:lvl9pPr>
    </p:titleStyle>
    <p:bodyStyle>
      <a:lvl1pPr marL="315913" indent="-315913" algn="l" defTabSz="1276350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Font typeface="Arial" pitchFamily="34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5567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597025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6788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6550" indent="-315913" algn="l" defTabSz="1276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942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931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919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910" indent="-319995" algn="l" defTabSz="127998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9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980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968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95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947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93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92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915" algn="l" defTabSz="127998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26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92.vml"/><Relationship Id="rId6" Type="http://schemas.openxmlformats.org/officeDocument/2006/relationships/tags" Target="../tags/tag277.xml"/><Relationship Id="rId11" Type="http://schemas.openxmlformats.org/officeDocument/2006/relationships/oleObject" Target="../embeddings/oleObject262.bin"/><Relationship Id="rId5" Type="http://schemas.openxmlformats.org/officeDocument/2006/relationships/tags" Target="../tags/tag27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275.xml"/><Relationship Id="rId9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_____Microsoft_Office_Excel_97-20031.xls"/><Relationship Id="rId5" Type="http://schemas.openxmlformats.org/officeDocument/2006/relationships/oleObject" Target="../embeddings/oleObject26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4.bin"/><Relationship Id="rId3" Type="http://schemas.openxmlformats.org/officeDocument/2006/relationships/tags" Target="../tags/tag282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81.xml"/><Relationship Id="rId1" Type="http://schemas.openxmlformats.org/officeDocument/2006/relationships/vmlDrawing" Target="../drawings/vmlDrawing94.vml"/><Relationship Id="rId6" Type="http://schemas.openxmlformats.org/officeDocument/2006/relationships/slideLayout" Target="../slideLayouts/slideLayout90.xml"/><Relationship Id="rId5" Type="http://schemas.openxmlformats.org/officeDocument/2006/relationships/tags" Target="../tags/tag284.xml"/><Relationship Id="rId4" Type="http://schemas.openxmlformats.org/officeDocument/2006/relationships/tags" Target="../tags/tag28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89.xml"/><Relationship Id="rId1" Type="http://schemas.openxmlformats.org/officeDocument/2006/relationships/vmlDrawing" Target="../drawings/vmlDrawing95.vml"/><Relationship Id="rId4" Type="http://schemas.openxmlformats.org/officeDocument/2006/relationships/oleObject" Target="../embeddings/_____Microsoft_Office_Excel_97-20033.xls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26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26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38" name="Object 119">
            <a:extLst>
              <a:ext uri="{FF2B5EF4-FFF2-40B4-BE49-F238E27FC236}">
                <a16:creationId xmlns:a16="http://schemas.microsoft.com/office/drawing/2014/main" xmlns="" id="{BE560C9A-E351-4BCC-B3E0-8F1636AAE47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6768" name="think-cell Slide" r:id="rId4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593C5A70-7D75-4BF1-AED3-3B2ABF5BD8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71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 b="1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6740" name="Title 1">
            <a:extLst>
              <a:ext uri="{FF2B5EF4-FFF2-40B4-BE49-F238E27FC236}">
                <a16:creationId xmlns:a16="http://schemas.microsoft.com/office/drawing/2014/main" xmlns="" id="{4E50EBDF-3654-4402-AE4F-FD95E05BDF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838" y="2363788"/>
            <a:ext cx="8561387" cy="3554412"/>
          </a:xfrm>
        </p:spPr>
        <p:txBody>
          <a:bodyPr lIns="0" tIns="0" rIns="0" bIns="0">
            <a:spAutoFit/>
          </a:bodyPr>
          <a:lstStyle/>
          <a:p>
            <a:pPr marL="0" eaLnBrk="1" hangingPunct="1">
              <a:lnSpc>
                <a:spcPct val="150000"/>
              </a:lnSpc>
            </a:pPr>
            <a:r>
              <a:rPr lang="ru-RU" altLang="ru-RU" sz="3000"/>
              <a:t>ДОКЛАД  </a:t>
            </a:r>
            <a:br>
              <a:rPr lang="ru-RU" altLang="ru-RU" sz="3000"/>
            </a:br>
            <a:r>
              <a:rPr lang="ru-RU" altLang="ru-RU" sz="3000"/>
              <a:t>ЗАМЕСТИТЕЛЯ ПРЕДСЕДАТЕЛЯ ПРАВИТЕЛЬСТВА ЗАБАЙКАЛЬСКОГО КРАЯ</a:t>
            </a:r>
            <a:r>
              <a:rPr lang="ru-RU" altLang="ru-RU" sz="3200"/>
              <a:t/>
            </a:r>
            <a:br>
              <a:rPr lang="ru-RU" altLang="ru-RU" sz="3200"/>
            </a:br>
            <a:r>
              <a:rPr lang="ru-RU" altLang="ru-RU" sz="3200"/>
              <a:t/>
            </a:r>
            <a:br>
              <a:rPr lang="ru-RU" altLang="ru-RU" sz="3200"/>
            </a:br>
            <a:r>
              <a:rPr lang="ru-RU" altLang="ru-RU" sz="3200"/>
              <a:t>А.В.ГУРУЛЁВА</a:t>
            </a:r>
            <a:endParaRPr lang="en-GB" altLang="ru-RU" sz="3200"/>
          </a:p>
        </p:txBody>
      </p:sp>
      <p:pic>
        <p:nvPicPr>
          <p:cNvPr id="11674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BF4DDF9C-D438-429F-BAD4-6D17258662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475" y="301625"/>
            <a:ext cx="1404938" cy="167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762" name="Object 58">
            <a:extLst>
              <a:ext uri="{FF2B5EF4-FFF2-40B4-BE49-F238E27FC236}">
                <a16:creationId xmlns:a16="http://schemas.microsoft.com/office/drawing/2014/main" xmlns="" id="{2B75E3B2-3CA4-471A-9AB2-681E6CB1B56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01788" y="1588"/>
          <a:ext cx="1587" cy="3175"/>
        </p:xfrm>
        <a:graphic>
          <a:graphicData uri="http://schemas.openxmlformats.org/presentationml/2006/ole">
            <p:oleObj spid="_x0000_s117792" name="think-cell Slide" r:id="rId11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BA252F1-BDC1-4772-AE58-651BDB0B371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0020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39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6E2878CC-686D-403A-9CA1-C78C2DB19E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231775"/>
            <a:ext cx="10487025" cy="862013"/>
          </a:xfrm>
        </p:spPr>
        <p:txBody>
          <a:bodyPr lIns="0" tIns="0" rIns="0" bIns="0" rtlCol="0">
            <a:spAutoFit/>
          </a:bodyPr>
          <a:lstStyle/>
          <a:p>
            <a:pPr defTabSz="1075152">
              <a:lnSpc>
                <a:spcPct val="100000"/>
              </a:lnSpc>
              <a:defRPr/>
            </a:pPr>
            <a:r>
              <a:rPr lang="ru-RU" sz="2800" dirty="0"/>
              <a:t>ЗАДАЧИ МИНИСТЕРСТВА ПРИРОДНЫХ РЕСУРСОВ </a:t>
            </a:r>
            <a:br>
              <a:rPr lang="ru-RU" sz="2800" dirty="0"/>
            </a:br>
            <a:r>
              <a:rPr lang="ru-RU" sz="2800" dirty="0"/>
              <a:t>ЗА ПРОШЕДШУЮ НЕДЕЛЮ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58760693-15D7-479B-A055-69A39F143FD1}"/>
              </a:ext>
            </a:extLst>
          </p:cNvPr>
          <p:cNvSpPr/>
          <p:nvPr/>
        </p:nvSpPr>
        <p:spPr>
          <a:xfrm>
            <a:off x="361950" y="1571625"/>
            <a:ext cx="12055475" cy="600075"/>
          </a:xfrm>
          <a:prstGeom prst="rect">
            <a:avLst/>
          </a:prstGeom>
          <a:solidFill>
            <a:srgbClr val="9DB1CF">
              <a:alpha val="49000"/>
            </a:srgb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prstClr val="black"/>
                </a:solidFill>
              </a:rPr>
              <a:t>ОСНОВНАЯ ЗАДАЧА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B348F0E4-C84A-4EAD-BEB4-E3A41E4CE009}"/>
              </a:ext>
            </a:extLst>
          </p:cNvPr>
          <p:cNvSpPr/>
          <p:nvPr/>
        </p:nvSpPr>
        <p:spPr>
          <a:xfrm>
            <a:off x="361950" y="3903663"/>
            <a:ext cx="12055475" cy="600075"/>
          </a:xfrm>
          <a:prstGeom prst="rect">
            <a:avLst/>
          </a:prstGeom>
          <a:solidFill>
            <a:srgbClr val="CFD9E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prstClr val="black"/>
                </a:solidFill>
              </a:rPr>
              <a:t>ВАЖНЫЕ ЗАДАЧ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EC707DB8-309E-4EBC-82BA-CE6BF8DCF25C}"/>
              </a:ext>
            </a:extLst>
          </p:cNvPr>
          <p:cNvSpPr/>
          <p:nvPr/>
        </p:nvSpPr>
        <p:spPr>
          <a:xfrm>
            <a:off x="361950" y="2498725"/>
            <a:ext cx="12055475" cy="600075"/>
          </a:xfrm>
          <a:prstGeom prst="rect">
            <a:avLst/>
          </a:prstGeom>
          <a:solidFill>
            <a:schemeClr val="accent1">
              <a:lumMod val="20000"/>
              <a:lumOff val="80000"/>
              <a:alpha val="49000"/>
            </a:schemeClr>
          </a:solidFill>
          <a:ln w="19050">
            <a:solidFill>
              <a:srgbClr val="4C6D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prstClr val="black"/>
                </a:solidFill>
              </a:rPr>
              <a:t>           ТУШЕНИЕ ЛЕСНЫХ ПОЖАРОВ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7E02C875-B7DB-4E9E-A739-7C0AA683A744}"/>
              </a:ext>
            </a:extLst>
          </p:cNvPr>
          <p:cNvSpPr/>
          <p:nvPr/>
        </p:nvSpPr>
        <p:spPr>
          <a:xfrm>
            <a:off x="503238" y="7026275"/>
            <a:ext cx="12055475" cy="600075"/>
          </a:xfrm>
          <a:prstGeom prst="rect">
            <a:avLst/>
          </a:prstGeom>
          <a:solidFill>
            <a:schemeClr val="accent1">
              <a:lumMod val="20000"/>
              <a:lumOff val="80000"/>
              <a:alpha val="49000"/>
            </a:schemeClr>
          </a:solidFill>
          <a:ln w="19050">
            <a:solidFill>
              <a:srgbClr val="4C6D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prstClr val="black"/>
                </a:solidFill>
              </a:rPr>
              <a:t>           ЛЕСОВОССТАНОВЛЕНИЕ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C910E958-3577-49CD-AA65-36A1F52413D8}"/>
              </a:ext>
            </a:extLst>
          </p:cNvPr>
          <p:cNvSpPr/>
          <p:nvPr/>
        </p:nvSpPr>
        <p:spPr>
          <a:xfrm>
            <a:off x="488950" y="5013325"/>
            <a:ext cx="12055475" cy="600075"/>
          </a:xfrm>
          <a:prstGeom prst="rect">
            <a:avLst/>
          </a:prstGeom>
          <a:solidFill>
            <a:schemeClr val="accent1">
              <a:lumMod val="20000"/>
              <a:lumOff val="80000"/>
              <a:alpha val="49000"/>
            </a:schemeClr>
          </a:solidFill>
          <a:ln w="19050">
            <a:solidFill>
              <a:srgbClr val="4C6D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prstClr val="black"/>
                </a:solidFill>
              </a:rPr>
              <a:t>           РЕАЛИЗАЦИЯ НАЦИОНАЛЬНОГО ПРОЕКТА «ЭКОЛОГИЯ»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5679378D-6404-4B83-A71C-D0CD9A51A7E0}"/>
              </a:ext>
            </a:extLst>
          </p:cNvPr>
          <p:cNvSpPr/>
          <p:nvPr/>
        </p:nvSpPr>
        <p:spPr>
          <a:xfrm>
            <a:off x="479425" y="5919788"/>
            <a:ext cx="12055475" cy="600075"/>
          </a:xfrm>
          <a:prstGeom prst="rect">
            <a:avLst/>
          </a:prstGeom>
          <a:solidFill>
            <a:schemeClr val="accent1">
              <a:lumMod val="20000"/>
              <a:lumOff val="80000"/>
              <a:alpha val="49000"/>
            </a:schemeClr>
          </a:solidFill>
          <a:ln w="19050">
            <a:solidFill>
              <a:srgbClr val="4C6D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prstClr val="black"/>
                </a:solidFill>
              </a:rPr>
              <a:t>           </a:t>
            </a:r>
            <a:r>
              <a:rPr lang="ru-RU" altLang="ru-RU" sz="2000" b="1" dirty="0">
                <a:solidFill>
                  <a:prstClr val="black"/>
                </a:solidFill>
                <a:sym typeface="Arial" panose="020B0604020202020204" pitchFamily="34" charset="0"/>
              </a:rPr>
              <a:t>ВНЕДРЕНИЕ НОВОЙ СИСТЕМЫ ОБРАЩЕНИЯ С ТКО</a:t>
            </a:r>
            <a:endParaRPr lang="ru-RU" sz="2000" b="1" dirty="0">
              <a:solidFill>
                <a:prstClr val="black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1DA447F5-0B93-40E4-BBFB-A45F2E6D18DC}"/>
              </a:ext>
            </a:extLst>
          </p:cNvPr>
          <p:cNvSpPr/>
          <p:nvPr/>
        </p:nvSpPr>
        <p:spPr>
          <a:xfrm>
            <a:off x="479425" y="8078788"/>
            <a:ext cx="12055475" cy="600075"/>
          </a:xfrm>
          <a:prstGeom prst="rect">
            <a:avLst/>
          </a:prstGeom>
          <a:solidFill>
            <a:schemeClr val="accent1">
              <a:lumMod val="20000"/>
              <a:lumOff val="80000"/>
              <a:alpha val="49000"/>
            </a:schemeClr>
          </a:solidFill>
          <a:ln w="19050">
            <a:solidFill>
              <a:srgbClr val="4C6D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defTabSz="9600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prstClr val="black"/>
                </a:solidFill>
              </a:rPr>
              <a:t>           НАДЗОРНАЯ ДЕЯТЕЛЬНОСТЬ</a:t>
            </a:r>
          </a:p>
        </p:txBody>
      </p:sp>
      <p:sp>
        <p:nvSpPr>
          <p:cNvPr id="27" name="Oval 66">
            <a:extLst>
              <a:ext uri="{FF2B5EF4-FFF2-40B4-BE49-F238E27FC236}">
                <a16:creationId xmlns:a16="http://schemas.microsoft.com/office/drawing/2014/main" xmlns="" id="{FC8BD430-3B98-4FD5-BF7C-D18076180D79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165100" y="2471738"/>
            <a:ext cx="698500" cy="654050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1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4" name="Oval 66">
            <a:extLst>
              <a:ext uri="{FF2B5EF4-FFF2-40B4-BE49-F238E27FC236}">
                <a16:creationId xmlns:a16="http://schemas.microsoft.com/office/drawing/2014/main" xmlns="" id="{EDA01860-0AD4-49FD-9A47-4FF24D574DF4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146050" y="4968875"/>
            <a:ext cx="717550" cy="671513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1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5" name="Oval 66">
            <a:extLst>
              <a:ext uri="{FF2B5EF4-FFF2-40B4-BE49-F238E27FC236}">
                <a16:creationId xmlns:a16="http://schemas.microsoft.com/office/drawing/2014/main" xmlns="" id="{766EB770-DDAD-470D-8B76-405EFD2F5778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146050" y="5873750"/>
            <a:ext cx="717550" cy="690563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2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6" name="Oval 66">
            <a:extLst>
              <a:ext uri="{FF2B5EF4-FFF2-40B4-BE49-F238E27FC236}">
                <a16:creationId xmlns:a16="http://schemas.microsoft.com/office/drawing/2014/main" xmlns="" id="{E974F63D-9122-4075-B62A-A2FB9C183C62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165100" y="7015163"/>
            <a:ext cx="698500" cy="654050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1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7" name="Oval 66">
            <a:extLst>
              <a:ext uri="{FF2B5EF4-FFF2-40B4-BE49-F238E27FC236}">
                <a16:creationId xmlns:a16="http://schemas.microsoft.com/office/drawing/2014/main" xmlns="" id="{826EB865-5CBC-430D-9872-EA00AB218ABB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146050" y="6940550"/>
            <a:ext cx="717550" cy="736600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3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8" name="Oval 66">
            <a:extLst>
              <a:ext uri="{FF2B5EF4-FFF2-40B4-BE49-F238E27FC236}">
                <a16:creationId xmlns:a16="http://schemas.microsoft.com/office/drawing/2014/main" xmlns="" id="{0BF6F4D1-84CC-4DD3-A4D9-F0A57C3590F4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146050" y="8031163"/>
            <a:ext cx="717550" cy="722312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4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117778" name="Номер слайда 7">
            <a:extLst>
              <a:ext uri="{FF2B5EF4-FFF2-40B4-BE49-F238E27FC236}">
                <a16:creationId xmlns:a16="http://schemas.microsoft.com/office/drawing/2014/main" xmlns="" id="{E474CEAD-7E1C-4A5C-87D8-1A33EC86832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731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0731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0731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0731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0731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73D4E89-F712-48BF-A599-15CE5C4727E4}" type="slidenum">
              <a:rPr lang="ru-RU" altLang="ru-RU" sz="1400">
                <a:solidFill>
                  <a:srgbClr val="898989"/>
                </a:solidFill>
              </a:rPr>
              <a:pPr/>
              <a:t>2</a:t>
            </a:fld>
            <a:endParaRPr lang="ru-RU" altLang="ru-RU" sz="14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7905EAC-F34D-425F-A40C-FE1B98901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688" y="373063"/>
            <a:ext cx="11257374" cy="758825"/>
          </a:xfrm>
        </p:spPr>
        <p:txBody>
          <a:bodyPr/>
          <a:lstStyle/>
          <a:p>
            <a:pPr defTabSz="1279342">
              <a:defRPr/>
            </a:pPr>
            <a:r>
              <a:rPr lang="ru-RU" sz="3200" dirty="0" smtClean="0">
                <a:cs typeface="Arial" panose="020B0604020202020204" pitchFamily="34" charset="0"/>
              </a:rPr>
              <a:t>ОСНОВНЫЕ НАПРАВЛЕНИЯ ДЕЯТЕЛЬНОСТИ </a:t>
            </a:r>
            <a:br>
              <a:rPr lang="ru-RU" sz="3200" dirty="0" smtClean="0">
                <a:cs typeface="Arial" panose="020B0604020202020204" pitchFamily="34" charset="0"/>
              </a:rPr>
            </a:br>
            <a:r>
              <a:rPr lang="ru-RU" sz="2400" dirty="0" smtClean="0">
                <a:cs typeface="Arial" panose="020B0604020202020204" pitchFamily="34" charset="0"/>
              </a:rPr>
              <a:t>РЕЗУЛЬТАТЫ РАБОТЫ С </a:t>
            </a:r>
            <a:r>
              <a:rPr lang="ru-RU" sz="2400" dirty="0" smtClean="0">
                <a:solidFill>
                  <a:schemeClr val="tx1"/>
                </a:solidFill>
                <a:cs typeface="Arial" panose="020B0604020202020204" pitchFamily="34" charset="0"/>
              </a:rPr>
              <a:t>21 СЕНТЯБРЯ ПО 12 ОКТЯБРЯ 2020 ГОДА</a:t>
            </a:r>
            <a:endParaRPr lang="ru-RU" sz="24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21859" name="Номер слайда 7">
            <a:extLst>
              <a:ext uri="{FF2B5EF4-FFF2-40B4-BE49-F238E27FC236}">
                <a16:creationId xmlns:a16="http://schemas.microsoft.com/office/drawing/2014/main" xmlns="" id="{C1EF0F26-E45F-4E6A-82E1-E2FFB288538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40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18CE01B-5053-4495-9AEF-D3BE730EBF29}" type="slidenum">
              <a:rPr lang="ru-RU" altLang="ru-RU">
                <a:solidFill>
                  <a:srgbClr val="898989"/>
                </a:solidFill>
              </a:rPr>
              <a:pPr/>
              <a:t>3</a:t>
            </a:fld>
            <a:endParaRPr lang="ru-RU" altLang="ru-RU">
              <a:solidFill>
                <a:srgbClr val="898989"/>
              </a:solidFill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1F56E697-3981-45A6-BEEA-ECC8909EB2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09986582"/>
              </p:ext>
            </p:extLst>
          </p:nvPr>
        </p:nvGraphicFramePr>
        <p:xfrm>
          <a:off x="254000" y="1468439"/>
          <a:ext cx="12203217" cy="7366148"/>
        </p:xfrm>
        <a:graphic>
          <a:graphicData uri="http://schemas.openxmlformats.org/drawingml/2006/table">
            <a:tbl>
              <a:tblPr firstRow="1" firstCol="1" bandRow="1"/>
              <a:tblGrid>
                <a:gridCol w="18835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56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377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7377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47205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7199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Вид надзора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оставлено 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отоколов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аложено штрафов, 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тыс. руб.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зультаты за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 недел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74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 начала года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3</a:t>
                      </a:r>
                      <a:r>
                        <a:rPr lang="ru-RU" sz="14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недели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с 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ачала года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3 недели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23776">
                <a:tc>
                  <a:txBody>
                    <a:bodyPr/>
                    <a:lstStyle/>
                    <a:p>
                      <a:pPr marL="187325" indent="0" algn="l" rtl="0" fontAlgn="ctr">
                        <a:tabLst>
                          <a:tab pos="187325" algn="l"/>
                        </a:tabLst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кологический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дзор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  <a:endParaRPr lang="ru-RU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49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2490</a:t>
                      </a:r>
                      <a:endParaRPr lang="ru-RU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административных дела возбуждено в части неисполнения представления по рассмотренному административному делу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административных дел возбуждено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 части обращени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с твердыми коммунальными отходами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 административных дел возбуждено в части деятельности лесопунктов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административное дело возбуждено в части нарушения законодательства о недрах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административное дело возбуждено в части неуплаты административного штрафа;</a:t>
                      </a:r>
                      <a:endParaRPr lang="ru-RU" sz="12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354013" indent="-260350" algn="l" rtl="0" fontAlgn="ctr">
                        <a:tabLst>
                          <a:tab pos="93663" algn="l"/>
                        </a:tabLst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-     63 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административных дела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рассмотрено.</a:t>
                      </a:r>
                    </a:p>
                    <a:p>
                      <a:pPr marL="354013" marR="0" lvl="0" indent="-2603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3663" algn="l"/>
                        </a:tabLst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Проводится 8 внеплановых выездных проверок соблюдения норм природоохранного законодательства на территории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вано-Арахлейского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риродного парка по требованию прокуратуры (срок окончания – 16 октября 2020 года).</a:t>
                      </a: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45055">
                <a:tc>
                  <a:txBody>
                    <a:bodyPr/>
                    <a:lstStyle/>
                    <a:p>
                      <a:pPr marL="187325" indent="0"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Федеральный государственный </a:t>
                      </a:r>
                      <a:r>
                        <a:rPr lang="ru-RU" sz="14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хотнадзор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68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34 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42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kern="1200">
                          <a:solidFill>
                            <a:srgbClr val="FF0000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5,5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ставлено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4 </a:t>
                      </a: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токола;</a:t>
                      </a:r>
                      <a:endParaRPr lang="ru-RU" altLang="ru-RU" sz="12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8 рейдов; 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частие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пециалистов в 3 судебных заседаниях по фактам незаконной охоты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ъято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 ед. незаконного оружия, 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быто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законно 1 особь оленя благородного (самец), 5 особей косули </a:t>
                      </a: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ибирской; </a:t>
                      </a:r>
                      <a:endParaRPr lang="ru-RU" altLang="ru-RU" sz="1200" b="0" i="0" u="none" strike="noStrike" kern="1200" baseline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атериалы </a:t>
                      </a:r>
                      <a:r>
                        <a:rPr lang="ru-RU" altLang="ru-RU" sz="1200" b="0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 2 случаям правонарушений переданы в следственные органы для возбуждения уголовных дел.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47144">
                <a:tc>
                  <a:txBody>
                    <a:bodyPr/>
                    <a:lstStyle/>
                    <a:p>
                      <a:pPr marL="187325" indent="0"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Региональный государственный надзор на территориях ООПТ</a:t>
                      </a:r>
                    </a:p>
                    <a:p>
                      <a:pPr marL="187325" indent="0" algn="l" rtl="0" fontAlgn="ctr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charset="0"/>
                        <a:defRPr sz="35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9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35</a:t>
                      </a:r>
                    </a:p>
                  </a:txBody>
                  <a:tcPr marL="8700" marR="8700" marT="8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charset="0"/>
                        <a:defRPr sz="35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9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</a:t>
                      </a:r>
                    </a:p>
                  </a:txBody>
                  <a:tcPr marL="8700" marR="8700" marT="8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charset="0"/>
                        <a:defRPr sz="35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9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99</a:t>
                      </a:r>
                    </a:p>
                  </a:txBody>
                  <a:tcPr marL="8700" marR="8700" marT="8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charset="0"/>
                        <a:defRPr sz="35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9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127952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6</a:t>
                      </a:r>
                    </a:p>
                  </a:txBody>
                  <a:tcPr marL="8700" marR="8700" marT="8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>
                      <a:lvl1pPr indent="449263"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charset="0"/>
                        <a:defRPr sz="35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9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charset="0"/>
                        <a:defRPr sz="21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 административное дело рассмотрено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 административных дела переданы в мировой суд;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ъято: 14 рыболовных сети общей протяженностью 700метров. Оружие марки ТИГР СОК -5. 5 патронов. 58 петель.</a:t>
                      </a:r>
                    </a:p>
                  </a:txBody>
                  <a:tcPr marL="8700" marR="8700" marT="8702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</a:tr>
              <a:tr h="1283874">
                <a:tc>
                  <a:txBody>
                    <a:bodyPr/>
                    <a:lstStyle/>
                    <a:p>
                      <a:pPr marL="187325" indent="0" algn="l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ная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фер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6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/ 0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5022</a:t>
                      </a:r>
                      <a:endParaRPr lang="ru-RU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  <a:endParaRPr lang="ru-RU" sz="13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7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дено 202 рейдовых мероприятия;  </a:t>
                      </a:r>
                    </a:p>
                    <a:p>
                      <a:pPr marL="379413" marR="0" lvl="0" indent="-28575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>
                          <a:tab pos="93663" algn="l"/>
                        </a:tabLst>
                        <a:defRPr/>
                      </a:pPr>
                      <a:r>
                        <a:rPr lang="ru-RU" alt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явлен 31 случай незаконной рубки лесных насаждений, объем незаконно заготовленной древесины составляет 1843 куб. м., ущерб лесному фонду причинен в размере 7503 тыс. руб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00" marR="8700" marT="869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2"/>
          <p:cNvGraphicFramePr>
            <a:graphicFrameLocks noChangeAspect="1"/>
          </p:cNvGraphicFramePr>
          <p:nvPr/>
        </p:nvGraphicFramePr>
        <p:xfrm>
          <a:off x="1601788" y="1588"/>
          <a:ext cx="1587" cy="3175"/>
        </p:xfrm>
        <a:graphic>
          <a:graphicData uri="http://schemas.openxmlformats.org/presentationml/2006/ole">
            <p:oleObj spid="_x0000_s221186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0020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39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5" name="Заголовок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52425"/>
            <a:ext cx="8166100" cy="492125"/>
          </a:xfrm>
        </p:spPr>
        <p:txBody>
          <a:bodyPr lIns="0" tIns="0" rIns="0" bIns="0" rtlCol="0">
            <a:spAutoFit/>
          </a:bodyPr>
          <a:lstStyle/>
          <a:p>
            <a:pPr defTabSz="1075152">
              <a:lnSpc>
                <a:spcPct val="100000"/>
              </a:lnSpc>
              <a:defRPr/>
            </a:pPr>
            <a:r>
              <a:rPr lang="ru-RU" sz="3200" dirty="0"/>
              <a:t>ПОЖАРООПАСНЫЙ СЕЗОН 2020 ГОДА</a:t>
            </a:r>
          </a:p>
        </p:txBody>
      </p:sp>
      <p:sp>
        <p:nvSpPr>
          <p:cNvPr id="26629" name="TextBox 4"/>
          <p:cNvSpPr txBox="1">
            <a:spLocks noChangeArrowheads="1"/>
          </p:cNvSpPr>
          <p:nvPr/>
        </p:nvSpPr>
        <p:spPr bwMode="auto">
          <a:xfrm>
            <a:off x="985838" y="1365250"/>
            <a:ext cx="5822950" cy="6619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07513" tIns="53757" rIns="107513" bIns="53757">
            <a:spAutoFit/>
          </a:bodyPr>
          <a:lstStyle/>
          <a:p>
            <a:pPr algn="ctr" defTabSz="1074738" eaLnBrk="1" hangingPunct="1">
              <a:buFont typeface="Arial" charset="0"/>
              <a:buNone/>
            </a:pPr>
            <a:r>
              <a:rPr lang="ru-RU" altLang="ru-RU" b="1">
                <a:solidFill>
                  <a:srgbClr val="000000"/>
                </a:solidFill>
                <a:cs typeface="Times New Roman" pitchFamily="18" charset="0"/>
              </a:rPr>
              <a:t>Сведения о лесных пожарах на территории Забайкальского края</a:t>
            </a:r>
            <a:endParaRPr lang="ru-RU" altLang="ru-RU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/>
            </a:extLst>
          </p:cNvPr>
          <p:cNvSpPr/>
          <p:nvPr/>
        </p:nvSpPr>
        <p:spPr>
          <a:xfrm>
            <a:off x="7972425" y="5413375"/>
            <a:ext cx="4381500" cy="655638"/>
          </a:xfrm>
          <a:prstGeom prst="rect">
            <a:avLst/>
          </a:prstGeom>
          <a:solidFill>
            <a:srgbClr val="CFD9E7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13" tIns="53757" rIns="107513" bIns="53757" anchor="ctr"/>
          <a:lstStyle/>
          <a:p>
            <a:pPr algn="ctr" defTabSz="3839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ичины возникновения лесных пожаров</a:t>
            </a:r>
          </a:p>
        </p:txBody>
      </p:sp>
      <p:graphicFrame>
        <p:nvGraphicFramePr>
          <p:cNvPr id="26631" name="Object 3"/>
          <p:cNvGraphicFramePr>
            <a:graphicFrameLocks/>
          </p:cNvGraphicFramePr>
          <p:nvPr/>
        </p:nvGraphicFramePr>
        <p:xfrm>
          <a:off x="8067675" y="6199188"/>
          <a:ext cx="4156075" cy="2890837"/>
        </p:xfrm>
        <a:graphic>
          <a:graphicData uri="http://schemas.openxmlformats.org/presentationml/2006/ole">
            <p:oleObj spid="_x0000_s221187" name="Worksheet" r:id="rId6" imgW="4762487" imgH="3686207" progId="Excel.Sheet.8">
              <p:embed/>
            </p:oleObj>
          </a:graphicData>
        </a:graphic>
      </p:graphicFrame>
      <p:graphicFrame>
        <p:nvGraphicFramePr>
          <p:cNvPr id="17" name="Таблица 16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334963" y="7643813"/>
          <a:ext cx="7150100" cy="1446213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1203958">
                  <a:extLst>
                    <a:ext uri="{9D8B030D-6E8A-4147-A177-3AD203B41FA5}"/>
                  </a:extLst>
                </a:gridCol>
                <a:gridCol w="1103320">
                  <a:extLst>
                    <a:ext uri="{9D8B030D-6E8A-4147-A177-3AD203B41FA5}"/>
                  </a:extLst>
                </a:gridCol>
                <a:gridCol w="623195">
                  <a:extLst>
                    <a:ext uri="{9D8B030D-6E8A-4147-A177-3AD203B41FA5}"/>
                  </a:extLst>
                </a:gridCol>
                <a:gridCol w="749038">
                  <a:extLst>
                    <a:ext uri="{9D8B030D-6E8A-4147-A177-3AD203B41FA5}"/>
                  </a:extLst>
                </a:gridCol>
                <a:gridCol w="761534">
                  <a:extLst>
                    <a:ext uri="{9D8B030D-6E8A-4147-A177-3AD203B41FA5}"/>
                  </a:extLst>
                </a:gridCol>
                <a:gridCol w="939912">
                  <a:extLst>
                    <a:ext uri="{9D8B030D-6E8A-4147-A177-3AD203B41FA5}"/>
                  </a:extLst>
                </a:gridCol>
                <a:gridCol w="755286">
                  <a:extLst>
                    <a:ext uri="{9D8B030D-6E8A-4147-A177-3AD203B41FA5}"/>
                  </a:extLst>
                </a:gridCol>
                <a:gridCol w="1013857">
                  <a:extLst>
                    <a:ext uri="{9D8B030D-6E8A-4147-A177-3AD203B41FA5}"/>
                  </a:extLst>
                </a:gridCol>
              </a:tblGrid>
              <a:tr h="483571">
                <a:tc rowSpan="2"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effectLst/>
                          <a:latin typeface="+mn-lt"/>
                        </a:rPr>
                        <a:t>Всего лесных пожаров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Площадь, тыс. га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Действующие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Локализованные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Ликвидированные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4844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шт.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ыс. га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шт.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ыс. га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шт.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effectLst/>
                          <a:latin typeface="+mn-lt"/>
                        </a:rPr>
                        <a:t>тыс. га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478171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848</a:t>
                      </a:r>
                      <a:endParaRPr lang="ru-RU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348,5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1280160" rtl="0" eaLnBrk="1" fontAlgn="ctr" latinLnBrk="0" hangingPunct="1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"/>
                          <a:cs typeface=""/>
                        </a:rPr>
                        <a:t>0</a:t>
                      </a:r>
                      <a:endParaRPr lang="ru-RU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"/>
                        <a:cs typeface=""/>
                      </a:endParaRPr>
                    </a:p>
                  </a:txBody>
                  <a:tcPr marL="5637" marR="5637" marT="752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5E0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6665" name="Прямоугольник 6"/>
          <p:cNvSpPr>
            <a:spLocks noChangeArrowheads="1"/>
          </p:cNvSpPr>
          <p:nvPr/>
        </p:nvSpPr>
        <p:spPr bwMode="auto">
          <a:xfrm>
            <a:off x="334963" y="6732588"/>
            <a:ext cx="7126287" cy="66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513" tIns="53757" rIns="107513" bIns="53757">
            <a:spAutoFit/>
          </a:bodyPr>
          <a:lstStyle/>
          <a:p>
            <a:pPr algn="ctr" defTabSz="1074738" eaLnBrk="1" hangingPunct="1">
              <a:buFont typeface="Arial" charset="0"/>
              <a:buNone/>
            </a:pPr>
            <a:r>
              <a:rPr lang="ru-RU" altLang="ru-RU" b="1">
                <a:solidFill>
                  <a:srgbClr val="000000"/>
                </a:solidFill>
                <a:cs typeface="Times New Roman" pitchFamily="18" charset="0"/>
              </a:rPr>
              <a:t>Текущая лесопожарная обстановка на территории Забайкальского края на 08:00 часов 12.10.2020 года</a:t>
            </a:r>
            <a:endParaRPr lang="ru-RU" altLang="ru-RU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/>
            </a:extLst>
          </p:cNvPr>
          <p:cNvSpPr/>
          <p:nvPr/>
        </p:nvSpPr>
        <p:spPr>
          <a:xfrm>
            <a:off x="7877175" y="1557338"/>
            <a:ext cx="4476750" cy="655637"/>
          </a:xfrm>
          <a:prstGeom prst="rect">
            <a:avLst/>
          </a:prstGeom>
          <a:solidFill>
            <a:srgbClr val="CFD9E7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13" tIns="53757" rIns="107513" bIns="53757" anchor="ctr"/>
          <a:lstStyle/>
          <a:p>
            <a:pPr algn="ctr" defTabSz="38398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осылки возникновения лесных пожаров </a:t>
            </a:r>
          </a:p>
        </p:txBody>
      </p:sp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7796213" y="2238375"/>
            <a:ext cx="4557712" cy="2827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513" tIns="53757" rIns="107513" bIns="53757" anchor="ctr"/>
          <a:lstStyle/>
          <a:p>
            <a:pPr marL="287986" indent="-287986" defTabSz="38398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тсутствие (незначительное количество) осадков, малоснежная зима</a:t>
            </a:r>
          </a:p>
          <a:p>
            <a:pPr marL="287986" indent="-287986" defTabSz="383984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ветреная весна (15-21 м/с)</a:t>
            </a:r>
          </a:p>
          <a:p>
            <a:pPr marL="287986" indent="-287986" defTabSz="383984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редне-суточная </a:t>
            </a:r>
            <a:r>
              <a:rPr lang="en-US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t° </a:t>
            </a: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воздуха в весенний период на 3-15° выше климатической нормы </a:t>
            </a:r>
          </a:p>
          <a:p>
            <a:pPr marL="287986" indent="-287986" defTabSz="383984" eaLnBrk="1" fontAlgn="auto" hangingPunct="1">
              <a:spcBef>
                <a:spcPts val="505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тжиг сухой растительности от частных владений, строений граждан в целях безопасности </a:t>
            </a:r>
          </a:p>
        </p:txBody>
      </p:sp>
      <p:graphicFrame>
        <p:nvGraphicFramePr>
          <p:cNvPr id="18" name="Таблица 17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334963" y="2132013"/>
          <a:ext cx="7013574" cy="1816101"/>
        </p:xfrm>
        <a:graphic>
          <a:graphicData uri="http://schemas.openxmlformats.org/drawingml/2006/table">
            <a:tbl>
              <a:tblPr firstRow="1" firstCol="1" bandRow="1"/>
              <a:tblGrid>
                <a:gridCol w="1902494">
                  <a:extLst>
                    <a:ext uri="{9D8B030D-6E8A-4147-A177-3AD203B41FA5}"/>
                  </a:extLst>
                </a:gridCol>
                <a:gridCol w="851156">
                  <a:extLst>
                    <a:ext uri="{9D8B030D-6E8A-4147-A177-3AD203B41FA5}"/>
                  </a:extLst>
                </a:gridCol>
                <a:gridCol w="1125572">
                  <a:extLst>
                    <a:ext uri="{9D8B030D-6E8A-4147-A177-3AD203B41FA5}"/>
                  </a:extLst>
                </a:gridCol>
                <a:gridCol w="1109938">
                  <a:extLst>
                    <a:ext uri="{9D8B030D-6E8A-4147-A177-3AD203B41FA5}"/>
                  </a:extLst>
                </a:gridCol>
                <a:gridCol w="1012207">
                  <a:extLst>
                    <a:ext uri="{9D8B030D-6E8A-4147-A177-3AD203B41FA5}"/>
                  </a:extLst>
                </a:gridCol>
                <a:gridCol w="1012207">
                  <a:extLst>
                    <a:ext uri="{9D8B030D-6E8A-4147-A177-3AD203B41FA5}"/>
                  </a:extLst>
                </a:gridCol>
              </a:tblGrid>
              <a:tr h="820817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ТЕЛЬ</a:t>
                      </a:r>
                    </a:p>
                  </a:txBody>
                  <a:tcPr marL="51459" marR="5145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го </a:t>
                      </a:r>
                    </a:p>
                    <a:p>
                      <a:pPr algn="ctr" fontAlgn="ctr"/>
                      <a:r>
                        <a:rPr lang="ru-RU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2019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10.</a:t>
                      </a:r>
                      <a:endParaRPr lang="ru-RU" sz="160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10.</a:t>
                      </a:r>
                      <a:endParaRPr lang="ru-RU" sz="160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в 2020 г</a:t>
                      </a: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неделю</a:t>
                      </a: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497642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ичество пожаров, шт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5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4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3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</a:t>
                      </a:r>
                      <a:r>
                        <a:rPr lang="ru-RU" sz="16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1 раза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497642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ru-RU" sz="16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лощадь пожаров, тыс. г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8,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8,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66,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F1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1,6   раза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55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334963" y="4760913"/>
          <a:ext cx="7043737" cy="1801811"/>
        </p:xfrm>
        <a:graphic>
          <a:graphicData uri="http://schemas.openxmlformats.org/drawingml/2006/table">
            <a:tbl>
              <a:tblPr firstRow="1" firstCol="1" bandRow="1"/>
              <a:tblGrid>
                <a:gridCol w="1944046">
                  <a:extLst>
                    <a:ext uri="{9D8B030D-6E8A-4147-A177-3AD203B41FA5}"/>
                  </a:extLst>
                </a:gridCol>
                <a:gridCol w="897357">
                  <a:extLst>
                    <a:ext uri="{9D8B030D-6E8A-4147-A177-3AD203B41FA5}"/>
                  </a:extLst>
                </a:gridCol>
                <a:gridCol w="1065611">
                  <a:extLst>
                    <a:ext uri="{9D8B030D-6E8A-4147-A177-3AD203B41FA5}"/>
                  </a:extLst>
                </a:gridCol>
                <a:gridCol w="1084306">
                  <a:extLst>
                    <a:ext uri="{9D8B030D-6E8A-4147-A177-3AD203B41FA5}"/>
                  </a:extLst>
                </a:gridCol>
                <a:gridCol w="1129687">
                  <a:extLst>
                    <a:ext uri="{9D8B030D-6E8A-4147-A177-3AD203B41FA5}"/>
                  </a:extLst>
                </a:gridCol>
                <a:gridCol w="922730">
                  <a:extLst>
                    <a:ext uri="{9D8B030D-6E8A-4147-A177-3AD203B41FA5}"/>
                  </a:extLst>
                </a:gridCol>
              </a:tblGrid>
              <a:tr h="695571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ТЕЛЬ</a:t>
                      </a:r>
                    </a:p>
                  </a:txBody>
                  <a:tcPr marL="51459" marR="5145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сего </a:t>
                      </a:r>
                    </a:p>
                    <a:p>
                      <a:pPr algn="ctr" fontAlgn="ctr"/>
                      <a:r>
                        <a:rPr lang="ru-RU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2019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10. </a:t>
                      </a: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.10. </a:t>
                      </a:r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 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нижение в 2020г.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 неделю</a:t>
                      </a: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FD9E7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608577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Количество пожаров, шт.</a:t>
                      </a:r>
                      <a:endParaRPr lang="ru-RU" sz="1600" b="1" i="0" u="none" strike="noStrike" dirty="0"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effectLst/>
                          <a:latin typeface="+mn-lt"/>
                        </a:rPr>
                        <a:t>3287</a:t>
                      </a: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9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8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</a:t>
                      </a:r>
                      <a:r>
                        <a:rPr lang="ru-RU" sz="16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 </a:t>
                      </a:r>
                      <a:r>
                        <a:rPr lang="ru-RU" sz="160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аза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497663"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ctr"/>
                      <a:r>
                        <a:rPr lang="ru-RU" sz="1600" b="1" u="none" strike="noStrike" dirty="0">
                          <a:effectLst/>
                          <a:latin typeface="+mn-lt"/>
                        </a:rPr>
                        <a:t>Площадь пожаров, тыс. га</a:t>
                      </a:r>
                      <a:endParaRPr lang="ru-RU" sz="1600" b="1" i="0" u="none" strike="noStrike" dirty="0"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>
                          <a:effectLst/>
                          <a:latin typeface="+mn-lt"/>
                        </a:rPr>
                        <a:t>185,5</a:t>
                      </a: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,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7" marR="7147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6400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12801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9202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256032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320040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384048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448056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5120640" algn="l" defTabSz="1280160" rtl="0" eaLnBrk="1" latinLnBrk="0" hangingPunct="1">
                        <a:defRPr sz="252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128016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5,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 </a:t>
                      </a:r>
                      <a:r>
                        <a:rPr lang="ru-RU" sz="16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,8 раз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8" marR="7148" marT="95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E5E0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6728" name="TextBox 4"/>
          <p:cNvSpPr txBox="1">
            <a:spLocks noChangeArrowheads="1"/>
          </p:cNvSpPr>
          <p:nvPr/>
        </p:nvSpPr>
        <p:spPr bwMode="auto">
          <a:xfrm>
            <a:off x="985838" y="4049713"/>
            <a:ext cx="5822950" cy="6635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107513" tIns="53757" rIns="107513" bIns="53757">
            <a:spAutoFit/>
          </a:bodyPr>
          <a:lstStyle/>
          <a:p>
            <a:pPr algn="ctr" defTabSz="1074738" eaLnBrk="1" hangingPunct="1">
              <a:buFont typeface="Arial" charset="0"/>
              <a:buNone/>
            </a:pPr>
            <a:r>
              <a:rPr lang="ru-RU" altLang="ru-RU" b="1">
                <a:solidFill>
                  <a:srgbClr val="000000"/>
                </a:solidFill>
                <a:cs typeface="Times New Roman" pitchFamily="18" charset="0"/>
              </a:rPr>
              <a:t>Сведения о степных пожарах на территории Забайкальского края</a:t>
            </a:r>
            <a:endParaRPr lang="ru-RU" altLang="ru-RU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26729" name="Номер слайда 7"/>
          <p:cNvSpPr>
            <a:spLocks noGrp="1"/>
          </p:cNvSpPr>
          <p:nvPr>
            <p:ph type="sldNum" sz="quarter" idx="19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1073150"/>
            <a:fld id="{B1427297-AA58-4E56-9AE3-B2523C1AD5D2}" type="slidenum">
              <a:rPr lang="ru-RU" altLang="ru-RU" sz="1400"/>
              <a:pPr defTabSz="1073150"/>
              <a:t>4</a:t>
            </a:fld>
            <a:endParaRPr lang="ru-RU" altLang="ru-RU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2"/>
          <p:cNvGraphicFramePr>
            <a:graphicFrameLocks noChangeAspect="1"/>
          </p:cNvGraphicFramePr>
          <p:nvPr/>
        </p:nvGraphicFramePr>
        <p:xfrm>
          <a:off x="1601788" y="1588"/>
          <a:ext cx="1587" cy="3175"/>
        </p:xfrm>
        <a:graphic>
          <a:graphicData uri="http://schemas.openxmlformats.org/presentationml/2006/ole">
            <p:oleObj spid="_x0000_s223234" name="think-cell Slide" r:id="rId8" imgW="360" imgH="360" progId="">
              <p:embed/>
            </p:oleObj>
          </a:graphicData>
        </a:graphic>
      </p:graphicFrame>
      <p:sp>
        <p:nvSpPr>
          <p:cNvPr id="6" name="Rectangle 5" hidden="1">
            <a:extLst>
              <a:ext uri="{FF2B5EF4-FFF2-40B4-BE49-F238E27FC236}"/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00200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384002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2700" b="1" dirty="0">
              <a:solidFill>
                <a:prstClr val="white"/>
              </a:solidFill>
              <a:ea typeface="+mj-ea"/>
              <a:cs typeface="+mj-cs"/>
            </a:endParaRPr>
          </a:p>
        </p:txBody>
      </p:sp>
      <p:sp>
        <p:nvSpPr>
          <p:cNvPr id="5" name="Title 4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969963" y="325438"/>
            <a:ext cx="9455150" cy="738187"/>
          </a:xfrm>
        </p:spPr>
        <p:txBody>
          <a:bodyPr lIns="0" tIns="0" rIns="0" bIns="0" rtlCol="0">
            <a:spAutoFit/>
          </a:bodyPr>
          <a:lstStyle/>
          <a:p>
            <a:pPr defTabSz="1075203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2400" dirty="0">
                <a:cs typeface="Arial" panose="020B0604020202020204" pitchFamily="34" charset="0"/>
              </a:rPr>
              <a:t>ВЫЯВЛЕНИЕ ЛИЦ, ВИНОВНЫХ В ВОЗНИКНОВЕНИИ ПРИРОДНЫХ ПОЖАРОВ В ЗАБАЙКАЛЬСКОМ КРАЕ </a:t>
            </a:r>
          </a:p>
        </p:txBody>
      </p:sp>
      <p:sp>
        <p:nvSpPr>
          <p:cNvPr id="30725" name="TextBox 72"/>
          <p:cNvSpPr txBox="1">
            <a:spLocks noChangeArrowheads="1"/>
          </p:cNvSpPr>
          <p:nvPr/>
        </p:nvSpPr>
        <p:spPr bwMode="auto">
          <a:xfrm>
            <a:off x="969963" y="2690813"/>
            <a:ext cx="11569700" cy="1812925"/>
          </a:xfrm>
          <a:prstGeom prst="rect">
            <a:avLst/>
          </a:prstGeom>
          <a:solidFill>
            <a:srgbClr val="FCE5E0">
              <a:alpha val="49019"/>
            </a:srgbClr>
          </a:solidFill>
          <a:ln w="19050">
            <a:solidFill>
              <a:srgbClr val="203864"/>
            </a:solidFill>
            <a:miter lim="800000"/>
            <a:headEnd/>
            <a:tailEnd/>
          </a:ln>
        </p:spPr>
        <p:txBody>
          <a:bodyPr lIns="60472" tIns="53760" rIns="30235" bIns="53760" anchor="ctr"/>
          <a:lstStyle/>
          <a:p>
            <a:pPr marL="306388" defTabSz="382588" eaLnBrk="1" hangingPunct="1">
              <a:buFont typeface="Arial" charset="0"/>
              <a:buNone/>
            </a:pPr>
            <a:r>
              <a:rPr lang="ru-RU" altLang="ru-RU" sz="2000" b="1">
                <a:solidFill>
                  <a:srgbClr val="000000"/>
                </a:solidFill>
              </a:rPr>
              <a:t>ЛЕСНЫЕ ПОЖАРЫ:                                           25                             40</a:t>
            </a:r>
          </a:p>
          <a:p>
            <a:pPr marL="306388" defTabSz="382588" eaLnBrk="1" hangingPunct="1">
              <a:buFont typeface="Arial" charset="0"/>
              <a:buNone/>
            </a:pPr>
            <a:r>
              <a:rPr lang="ru-RU" altLang="ru-RU" sz="2000" b="1">
                <a:solidFill>
                  <a:srgbClr val="000000"/>
                </a:solidFill>
              </a:rPr>
              <a:t>ст. 261 УК РФ                                                        8                               -</a:t>
            </a:r>
          </a:p>
          <a:p>
            <a:pPr marL="306388" defTabSz="382588" eaLnBrk="1" hangingPunct="1">
              <a:buFont typeface="Arial" charset="0"/>
              <a:buNone/>
            </a:pPr>
            <a:r>
              <a:rPr lang="ru-RU" altLang="ru-RU" sz="2000" b="1">
                <a:solidFill>
                  <a:srgbClr val="000000"/>
                </a:solidFill>
              </a:rPr>
              <a:t>ст. 8.32 КоАП РФ                                                 17                             40</a:t>
            </a:r>
          </a:p>
          <a:p>
            <a:pPr marL="306388" defTabSz="382588" eaLnBrk="1" hangingPunct="1">
              <a:buFont typeface="Arial" charset="0"/>
              <a:buNone/>
            </a:pPr>
            <a:endParaRPr lang="ru-RU" altLang="ru-RU" sz="1300" b="1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969963" y="4864100"/>
            <a:ext cx="11569700" cy="995363"/>
          </a:xfrm>
          <a:prstGeom prst="rect">
            <a:avLst/>
          </a:prstGeom>
          <a:solidFill>
            <a:srgbClr val="CFD9E7">
              <a:alpha val="30000"/>
            </a:srgbClr>
          </a:solidFill>
          <a:ln w="19050">
            <a:solidFill>
              <a:srgbClr val="203864"/>
            </a:solidFill>
          </a:ln>
        </p:spPr>
        <p:txBody>
          <a:bodyPr lIns="51429" rIns="25714" anchor="ctr"/>
          <a:lstStyle>
            <a:defPPr>
              <a:defRPr lang="ru-RU"/>
            </a:defPPr>
            <a:lvl1pPr marL="531813" indent="93663">
              <a:buFont typeface="Arial" panose="020B0604020202020204" pitchFamily="34" charset="0"/>
              <a:buChar char="•"/>
              <a:defRPr sz="1300" b="1">
                <a:solidFill>
                  <a:schemeClr val="bg1"/>
                </a:solidFill>
              </a:defRPr>
            </a:lvl1pPr>
          </a:lstStyle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cap="all" dirty="0">
                <a:solidFill>
                  <a:prstClr val="black"/>
                </a:solidFill>
                <a:latin typeface="Arial"/>
              </a:rPr>
              <a:t>СТЕПНЫЕ ПОЖАРЫ (ст.20.4 КоАП РФ):       </a:t>
            </a:r>
            <a:r>
              <a:rPr lang="ru-RU" sz="2000" cap="all" dirty="0" smtClean="0">
                <a:solidFill>
                  <a:prstClr val="black"/>
                </a:solidFill>
                <a:latin typeface="Arial"/>
              </a:rPr>
              <a:t>131                           450 </a:t>
            </a:r>
            <a:endParaRPr lang="en-US" sz="2000" cap="all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882650" y="1770063"/>
            <a:ext cx="7077075" cy="549275"/>
            <a:chOff x="4761249" y="1349601"/>
            <a:chExt cx="5470572" cy="478846"/>
          </a:xfrm>
        </p:grpSpPr>
        <p:sp>
          <p:nvSpPr>
            <p:cNvPr id="30748" name="TextBox 49"/>
            <p:cNvSpPr txBox="1">
              <a:spLocks noChangeArrowheads="1"/>
            </p:cNvSpPr>
            <p:nvPr/>
          </p:nvSpPr>
          <p:spPr bwMode="auto">
            <a:xfrm>
              <a:off x="4761249" y="1349601"/>
              <a:ext cx="3031611" cy="4579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325438" eaLnBrk="1" hangingPunct="1">
                <a:buFont typeface="Arial" charset="0"/>
                <a:buNone/>
              </a:pPr>
              <a:r>
                <a:rPr lang="ru-RU" altLang="en-US" sz="2400" b="1">
                  <a:solidFill>
                    <a:srgbClr val="000000"/>
                  </a:solidFill>
                </a:rPr>
                <a:t>Выявлено виновников:</a:t>
              </a:r>
              <a:endParaRPr lang="en-GB" altLang="en-US" sz="2400" b="1">
                <a:solidFill>
                  <a:srgbClr val="000000"/>
                </a:solidFill>
              </a:endParaRPr>
            </a:p>
          </p:txBody>
        </p:sp>
        <p:sp>
          <p:nvSpPr>
            <p:cNvPr id="30749" name="TextBox 62"/>
            <p:cNvSpPr txBox="1">
              <a:spLocks noChangeArrowheads="1"/>
            </p:cNvSpPr>
            <p:nvPr/>
          </p:nvSpPr>
          <p:spPr bwMode="auto">
            <a:xfrm>
              <a:off x="8651053" y="1392837"/>
              <a:ext cx="1580768" cy="43561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325438" eaLnBrk="1" hangingPunct="1">
                <a:buFont typeface="Arial" charset="0"/>
                <a:buNone/>
              </a:pPr>
              <a:r>
                <a:rPr lang="ru-RU" altLang="en-US" sz="2400" b="1">
                  <a:solidFill>
                    <a:srgbClr val="000000"/>
                  </a:solidFill>
                </a:rPr>
                <a:t>Количество</a:t>
              </a:r>
              <a:endParaRPr lang="en-GB" altLang="en-US" sz="2400" b="1">
                <a:solidFill>
                  <a:srgbClr val="000000"/>
                </a:solidFill>
              </a:endParaRPr>
            </a:p>
          </p:txBody>
        </p:sp>
        <p:sp>
          <p:nvSpPr>
            <p:cNvPr id="30750" name="TextBox 49"/>
            <p:cNvSpPr txBox="1">
              <a:spLocks noChangeArrowheads="1"/>
            </p:cNvSpPr>
            <p:nvPr/>
          </p:nvSpPr>
          <p:spPr bwMode="auto">
            <a:xfrm>
              <a:off x="4780855" y="1370455"/>
              <a:ext cx="3031611" cy="45799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325438" eaLnBrk="1" hangingPunct="1">
                <a:buFont typeface="Arial" charset="0"/>
                <a:buNone/>
              </a:pPr>
              <a:r>
                <a:rPr lang="ru-RU" altLang="en-US" sz="2400" b="1">
                  <a:solidFill>
                    <a:srgbClr val="000000"/>
                  </a:solidFill>
                </a:rPr>
                <a:t>Выявлено виновников:</a:t>
              </a:r>
              <a:endParaRPr lang="en-GB" altLang="en-US" sz="2400" b="1">
                <a:solidFill>
                  <a:srgbClr val="000000"/>
                </a:solidFill>
              </a:endParaRPr>
            </a:p>
          </p:txBody>
        </p:sp>
      </p:grpSp>
      <p:sp>
        <p:nvSpPr>
          <p:cNvPr id="84" name="Rectangle 57">
            <a:extLst>
              <a:ext uri="{FF2B5EF4-FFF2-40B4-BE49-F238E27FC236}"/>
            </a:extLst>
          </p:cNvPr>
          <p:cNvSpPr/>
          <p:nvPr/>
        </p:nvSpPr>
        <p:spPr bwMode="auto">
          <a:xfrm>
            <a:off x="3970338" y="6321425"/>
            <a:ext cx="6818312" cy="439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1178" tIns="53760" rIns="107518" bIns="53760" anchor="ctr"/>
          <a:lstStyle/>
          <a:p>
            <a:pPr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00" dirty="0">
              <a:solidFill>
                <a:prstClr val="black"/>
              </a:solidFill>
            </a:endParaRPr>
          </a:p>
        </p:txBody>
      </p:sp>
      <p:sp>
        <p:nvSpPr>
          <p:cNvPr id="97" name="Rectangle 69">
            <a:extLst>
              <a:ext uri="{FF2B5EF4-FFF2-40B4-BE49-F238E27FC236}"/>
            </a:extLst>
          </p:cNvPr>
          <p:cNvSpPr/>
          <p:nvPr/>
        </p:nvSpPr>
        <p:spPr bwMode="auto">
          <a:xfrm>
            <a:off x="3970338" y="7867650"/>
            <a:ext cx="6818312" cy="4397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1178" tIns="53760" rIns="107518" bIns="53760" anchor="ctr"/>
          <a:lstStyle/>
          <a:p>
            <a:pPr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00" dirty="0">
              <a:solidFill>
                <a:prstClr val="black"/>
              </a:solidFill>
            </a:endParaRPr>
          </a:p>
        </p:txBody>
      </p:sp>
      <p:sp>
        <p:nvSpPr>
          <p:cNvPr id="103" name="Rectangle 75">
            <a:extLst>
              <a:ext uri="{FF2B5EF4-FFF2-40B4-BE49-F238E27FC236}"/>
            </a:extLst>
          </p:cNvPr>
          <p:cNvSpPr/>
          <p:nvPr/>
        </p:nvSpPr>
        <p:spPr bwMode="auto">
          <a:xfrm>
            <a:off x="3970338" y="8594725"/>
            <a:ext cx="6818312" cy="438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1178" tIns="53760" rIns="107518" bIns="53760" anchor="ctr"/>
          <a:lstStyle/>
          <a:p>
            <a:pPr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00" dirty="0">
              <a:solidFill>
                <a:prstClr val="black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969963" y="6340475"/>
            <a:ext cx="11569700" cy="1352550"/>
          </a:xfrm>
          <a:prstGeom prst="rect">
            <a:avLst/>
          </a:prstGeom>
          <a:solidFill>
            <a:srgbClr val="FCE5E0">
              <a:alpha val="49000"/>
            </a:srgbClr>
          </a:solidFill>
          <a:ln w="19050">
            <a:solidFill>
              <a:srgbClr val="203864"/>
            </a:solidFill>
          </a:ln>
        </p:spPr>
        <p:txBody>
          <a:bodyPr lIns="51429" rIns="25714" anchor="ctr"/>
          <a:lstStyle>
            <a:defPPr>
              <a:defRPr lang="ru-RU"/>
            </a:defPPr>
            <a:lvl1pPr marL="531813" indent="93663">
              <a:buFont typeface="Arial" panose="020B0604020202020204" pitchFamily="34" charset="0"/>
              <a:buChar char="•"/>
              <a:defRPr sz="1300" b="1">
                <a:solidFill>
                  <a:schemeClr val="bg1"/>
                </a:solidFill>
              </a:defRPr>
            </a:lvl1pPr>
          </a:lstStyle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2000" cap="all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2000" cap="all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cap="all" dirty="0">
                <a:solidFill>
                  <a:prstClr val="black"/>
                </a:solidFill>
                <a:latin typeface="Arial"/>
              </a:rPr>
              <a:t>НАРУШЕНИЕ ПРАВИЛ </a:t>
            </a:r>
            <a:r>
              <a:rPr lang="ru-RU" sz="2000" cap="all" dirty="0" err="1">
                <a:solidFill>
                  <a:prstClr val="black"/>
                </a:solidFill>
                <a:latin typeface="Arial"/>
              </a:rPr>
              <a:t>пож</a:t>
            </a:r>
            <a:r>
              <a:rPr lang="ru-RU" sz="2000" cap="all" dirty="0">
                <a:solidFill>
                  <a:prstClr val="black"/>
                </a:solidFill>
                <a:latin typeface="Arial"/>
              </a:rPr>
              <a:t>. </a:t>
            </a:r>
            <a:r>
              <a:rPr lang="ru-RU" sz="2000" cap="all" dirty="0" err="1">
                <a:solidFill>
                  <a:prstClr val="black"/>
                </a:solidFill>
                <a:latin typeface="Arial"/>
              </a:rPr>
              <a:t>БезОП</a:t>
            </a:r>
            <a:r>
              <a:rPr lang="ru-RU" sz="2000" cap="all" dirty="0">
                <a:solidFill>
                  <a:prstClr val="black"/>
                </a:solidFill>
                <a:latin typeface="Arial"/>
              </a:rPr>
              <a:t>.:            </a:t>
            </a:r>
            <a:r>
              <a:rPr lang="ru-RU" sz="2000" cap="all" dirty="0" smtClean="0">
                <a:solidFill>
                  <a:prstClr val="black"/>
                </a:solidFill>
                <a:latin typeface="Arial"/>
              </a:rPr>
              <a:t>949                          2548</a:t>
            </a:r>
            <a:endParaRPr lang="ru-RU" sz="2000" cap="all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dirty="0">
                <a:solidFill>
                  <a:prstClr val="black"/>
                </a:solidFill>
                <a:latin typeface="Arial"/>
              </a:rPr>
              <a:t>ст. 8.32 КоАП РФ                                                 </a:t>
            </a:r>
            <a:r>
              <a:rPr lang="ru-RU" sz="2000" dirty="0" smtClean="0">
                <a:solidFill>
                  <a:prstClr val="black"/>
                </a:solidFill>
                <a:latin typeface="Arial"/>
              </a:rPr>
              <a:t>164                           350</a:t>
            </a:r>
            <a:endParaRPr lang="ru-RU" sz="2000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dirty="0">
                <a:solidFill>
                  <a:prstClr val="black"/>
                </a:solidFill>
                <a:latin typeface="Arial"/>
              </a:rPr>
              <a:t>ст. 20.4 КоАП РФ                                                 </a:t>
            </a:r>
            <a:r>
              <a:rPr lang="ru-RU" sz="2000" dirty="0" smtClean="0">
                <a:solidFill>
                  <a:prstClr val="black"/>
                </a:solidFill>
                <a:latin typeface="Arial"/>
              </a:rPr>
              <a:t>811                          2198</a:t>
            </a:r>
            <a:endParaRPr lang="ru-RU" sz="2000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ru-RU" sz="2000" dirty="0">
              <a:solidFill>
                <a:prstClr val="black"/>
              </a:solidFill>
              <a:latin typeface="Arial"/>
            </a:endParaRPr>
          </a:p>
          <a:p>
            <a:pPr marL="306668" indent="0" defTabSz="384002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000" cap="all" dirty="0">
                <a:solidFill>
                  <a:prstClr val="black"/>
                </a:solidFill>
                <a:latin typeface="Arial"/>
              </a:rPr>
              <a:t>    </a:t>
            </a:r>
            <a:endParaRPr lang="en-US" sz="2000" cap="all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0732" name="TextBox 62"/>
          <p:cNvSpPr txBox="1">
            <a:spLocks noChangeArrowheads="1"/>
          </p:cNvSpPr>
          <p:nvPr/>
        </p:nvSpPr>
        <p:spPr bwMode="auto">
          <a:xfrm>
            <a:off x="8201025" y="1481138"/>
            <a:ext cx="2224088" cy="10953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382588" eaLnBrk="1" hangingPunct="1">
              <a:buFont typeface="Arial" charset="0"/>
              <a:buNone/>
            </a:pPr>
            <a:r>
              <a:rPr lang="ru-RU" altLang="en-US" sz="2400" b="1">
                <a:solidFill>
                  <a:srgbClr val="000000"/>
                </a:solidFill>
              </a:rPr>
              <a:t>Сумма штрафов</a:t>
            </a:r>
          </a:p>
          <a:p>
            <a:pPr algn="ctr" defTabSz="382588" eaLnBrk="1" hangingPunct="1">
              <a:buFont typeface="Arial" charset="0"/>
              <a:buNone/>
            </a:pPr>
            <a:r>
              <a:rPr lang="ru-RU" altLang="en-US" sz="1600">
                <a:solidFill>
                  <a:srgbClr val="000000"/>
                </a:solidFill>
              </a:rPr>
              <a:t>(тыс. рублей)</a:t>
            </a:r>
            <a:endParaRPr lang="en-GB" altLang="en-US" sz="2400">
              <a:solidFill>
                <a:srgbClr val="000000"/>
              </a:solidFill>
            </a:endParaRPr>
          </a:p>
        </p:txBody>
      </p:sp>
      <p:sp>
        <p:nvSpPr>
          <p:cNvPr id="30733" name="TextBox 50"/>
          <p:cNvSpPr txBox="1">
            <a:spLocks noChangeArrowheads="1"/>
          </p:cNvSpPr>
          <p:nvPr/>
        </p:nvSpPr>
        <p:spPr bwMode="auto">
          <a:xfrm>
            <a:off x="8704263" y="3152775"/>
            <a:ext cx="2078037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325438" eaLnBrk="1" hangingPunct="1">
              <a:buFont typeface="Arial" charset="0"/>
              <a:buNone/>
            </a:pPr>
            <a:endParaRPr lang="ru-RU" altLang="en-US" sz="2400">
              <a:solidFill>
                <a:srgbClr val="FF0000"/>
              </a:solidFill>
            </a:endParaRPr>
          </a:p>
        </p:txBody>
      </p:sp>
      <p:sp>
        <p:nvSpPr>
          <p:cNvPr id="56" name="Rectangle 79">
            <a:extLst>
              <a:ext uri="{FF2B5EF4-FFF2-40B4-BE49-F238E27FC236}"/>
            </a:extLst>
          </p:cNvPr>
          <p:cNvSpPr/>
          <p:nvPr/>
        </p:nvSpPr>
        <p:spPr bwMode="auto">
          <a:xfrm>
            <a:off x="2214563" y="4079875"/>
            <a:ext cx="5745162" cy="442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07" tIns="53760" rIns="107518" bIns="53760" anchor="ctr"/>
          <a:lstStyle/>
          <a:p>
            <a:pPr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prstClr val="black"/>
                </a:solidFill>
              </a:rPr>
              <a:t> </a:t>
            </a:r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30735" name="TextBox 49"/>
          <p:cNvSpPr txBox="1">
            <a:spLocks noChangeArrowheads="1"/>
          </p:cNvSpPr>
          <p:nvPr/>
        </p:nvSpPr>
        <p:spPr bwMode="auto">
          <a:xfrm>
            <a:off x="485775" y="7904163"/>
            <a:ext cx="11849100" cy="11287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382588" eaLnBrk="1" hangingPunct="1">
              <a:buFont typeface="Arial" charset="0"/>
              <a:buNone/>
            </a:pPr>
            <a:r>
              <a:rPr lang="ru-RU" altLang="en-US" sz="2100" b="1">
                <a:solidFill>
                  <a:srgbClr val="000000"/>
                </a:solidFill>
              </a:rPr>
              <a:t>Всего выявлено 156 лиц, виновных в возникновении природных пожаров </a:t>
            </a:r>
          </a:p>
          <a:p>
            <a:pPr defTabSz="382588" eaLnBrk="1" hangingPunct="1">
              <a:buFont typeface="Arial" charset="0"/>
              <a:buNone/>
            </a:pPr>
            <a:endParaRPr lang="en-GB" altLang="en-US" sz="2100" b="1">
              <a:solidFill>
                <a:srgbClr val="FF0000"/>
              </a:solidFill>
            </a:endParaRPr>
          </a:p>
        </p:txBody>
      </p:sp>
      <p:sp>
        <p:nvSpPr>
          <p:cNvPr id="30736" name="TextBox 1"/>
          <p:cNvSpPr txBox="1">
            <a:spLocks noChangeArrowheads="1"/>
          </p:cNvSpPr>
          <p:nvPr/>
        </p:nvSpPr>
        <p:spPr bwMode="auto">
          <a:xfrm>
            <a:off x="10523538" y="1652588"/>
            <a:ext cx="19986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en-US" sz="2400" b="1"/>
              <a:t>За неделю, кол-во</a:t>
            </a:r>
          </a:p>
        </p:txBody>
      </p:sp>
      <p:sp>
        <p:nvSpPr>
          <p:cNvPr id="30737" name="TextBox 2"/>
          <p:cNvSpPr txBox="1">
            <a:spLocks noChangeArrowheads="1"/>
          </p:cNvSpPr>
          <p:nvPr/>
        </p:nvSpPr>
        <p:spPr bwMode="auto">
          <a:xfrm>
            <a:off x="11306175" y="2994025"/>
            <a:ext cx="3270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30738" name="TextBox 26"/>
          <p:cNvSpPr txBox="1">
            <a:spLocks noChangeArrowheads="1"/>
          </p:cNvSpPr>
          <p:nvPr/>
        </p:nvSpPr>
        <p:spPr bwMode="auto">
          <a:xfrm>
            <a:off x="11314113" y="3289300"/>
            <a:ext cx="3349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30739" name="TextBox 27"/>
          <p:cNvSpPr txBox="1">
            <a:spLocks noChangeArrowheads="1"/>
          </p:cNvSpPr>
          <p:nvPr/>
        </p:nvSpPr>
        <p:spPr bwMode="auto">
          <a:xfrm>
            <a:off x="11247438" y="3570288"/>
            <a:ext cx="3984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 0</a:t>
            </a:r>
          </a:p>
        </p:txBody>
      </p:sp>
      <p:sp>
        <p:nvSpPr>
          <p:cNvPr id="30740" name="TextBox 28"/>
          <p:cNvSpPr txBox="1">
            <a:spLocks noChangeArrowheads="1"/>
          </p:cNvSpPr>
          <p:nvPr/>
        </p:nvSpPr>
        <p:spPr bwMode="auto">
          <a:xfrm>
            <a:off x="11306175" y="5176838"/>
            <a:ext cx="3270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0</a:t>
            </a:r>
          </a:p>
        </p:txBody>
      </p:sp>
      <p:sp>
        <p:nvSpPr>
          <p:cNvPr id="30741" name="TextBox 29"/>
          <p:cNvSpPr txBox="1">
            <a:spLocks noChangeArrowheads="1"/>
          </p:cNvSpPr>
          <p:nvPr/>
        </p:nvSpPr>
        <p:spPr bwMode="auto">
          <a:xfrm>
            <a:off x="11263313" y="6810375"/>
            <a:ext cx="5492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 0</a:t>
            </a:r>
          </a:p>
        </p:txBody>
      </p:sp>
      <p:sp>
        <p:nvSpPr>
          <p:cNvPr id="30742" name="TextBox 30"/>
          <p:cNvSpPr txBox="1">
            <a:spLocks noChangeArrowheads="1"/>
          </p:cNvSpPr>
          <p:nvPr/>
        </p:nvSpPr>
        <p:spPr bwMode="auto">
          <a:xfrm>
            <a:off x="11199813" y="7113588"/>
            <a:ext cx="5397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 10</a:t>
            </a:r>
          </a:p>
        </p:txBody>
      </p:sp>
      <p:sp>
        <p:nvSpPr>
          <p:cNvPr id="30743" name="TextBox 31"/>
          <p:cNvSpPr txBox="1">
            <a:spLocks noChangeArrowheads="1"/>
          </p:cNvSpPr>
          <p:nvPr/>
        </p:nvSpPr>
        <p:spPr bwMode="auto">
          <a:xfrm>
            <a:off x="11171238" y="6532563"/>
            <a:ext cx="5492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en-US" sz="2000" b="1">
                <a:solidFill>
                  <a:srgbClr val="FF0000"/>
                </a:solidFill>
              </a:rPr>
              <a:t> 10</a:t>
            </a:r>
          </a:p>
        </p:txBody>
      </p:sp>
      <p:sp>
        <p:nvSpPr>
          <p:cNvPr id="33" name="Oval 66">
            <a:extLst>
              <a:ext uri="{FF2B5EF4-FFF2-40B4-BE49-F238E27FC236}"/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477838" y="3214688"/>
            <a:ext cx="733425" cy="714375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1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4" name="Oval 66">
            <a:extLst>
              <a:ext uri="{FF2B5EF4-FFF2-40B4-BE49-F238E27FC236}"/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77838" y="4948238"/>
            <a:ext cx="733425" cy="714375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2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5" name="Oval 66">
            <a:extLst>
              <a:ext uri="{FF2B5EF4-FFF2-40B4-BE49-F238E27FC236}"/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479425" y="6683375"/>
            <a:ext cx="731838" cy="714375"/>
          </a:xfrm>
          <a:prstGeom prst="ellipse">
            <a:avLst/>
          </a:prstGeom>
          <a:solidFill>
            <a:srgbClr val="4C6D9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333" tIns="21333" rIns="21333" bIns="21333" anchor="ctr"/>
          <a:lstStyle/>
          <a:p>
            <a:pPr algn="ctr" defTabSz="38400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</a:rPr>
              <a:t>3</a:t>
            </a:r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30747" name="Номер слайда 7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defTabSz="1073150" eaLnBrk="1" hangingPunct="1"/>
            <a:fld id="{D0CDDC53-3FDB-4764-948F-0F7C41FD86D4}" type="slidenum">
              <a:rPr lang="ru-RU" altLang="ru-RU" sz="1400"/>
              <a:pPr defTabSz="1073150" eaLnBrk="1" hangingPunct="1"/>
              <a:t>5</a:t>
            </a:fld>
            <a:endParaRPr lang="ru-RU" altLang="ru-RU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063" y="379413"/>
            <a:ext cx="6788150" cy="628650"/>
          </a:xfrm>
          <a:solidFill>
            <a:schemeClr val="bg1">
              <a:alpha val="40000"/>
            </a:schemeClr>
          </a:solidFill>
        </p:spPr>
        <p:txBody>
          <a:bodyPr rtlCol="0">
            <a:normAutofit/>
          </a:bodyPr>
          <a:lstStyle/>
          <a:p>
            <a:pPr defTabSz="1075233" eaLnBrk="1" fontAlgn="auto" hangingPunct="1">
              <a:spcAft>
                <a:spcPts val="0"/>
              </a:spcAft>
              <a:defRPr/>
            </a:pPr>
            <a:r>
              <a:rPr lang="ru-RU" sz="3600" dirty="0">
                <a:cs typeface="Arial" panose="020B0604020202020204" pitchFamily="34" charset="0"/>
              </a:rPr>
              <a:t>ЛЕСОВОССТАНОВЛЕНИЕ</a:t>
            </a:r>
          </a:p>
        </p:txBody>
      </p:sp>
      <p:sp>
        <p:nvSpPr>
          <p:cNvPr id="24579" name="Номер слайда 7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0731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731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731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731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731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731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EBFFCCC4-B1F9-43A5-BFB1-ABED3337606E}" type="slidenum">
              <a:rPr lang="ru-RU" altLang="ru-RU" sz="1400">
                <a:solidFill>
                  <a:srgbClr val="898989"/>
                </a:solidFill>
              </a:rPr>
              <a:pPr/>
              <a:t>6</a:t>
            </a:fld>
            <a:endParaRPr lang="ru-RU" altLang="ru-RU" sz="1400">
              <a:solidFill>
                <a:srgbClr val="898989"/>
              </a:solidFill>
            </a:endParaRPr>
          </a:p>
        </p:txBody>
      </p:sp>
      <p:graphicFrame>
        <p:nvGraphicFramePr>
          <p:cNvPr id="7" name="Таблица 6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223838" y="1484313"/>
          <a:ext cx="12255500" cy="42338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33561">
                  <a:extLst>
                    <a:ext uri="{9D8B030D-6E8A-4147-A177-3AD203B41FA5}"/>
                  </a:extLst>
                </a:gridCol>
                <a:gridCol w="1627004">
                  <a:extLst>
                    <a:ext uri="{9D8B030D-6E8A-4147-A177-3AD203B41FA5}"/>
                  </a:extLst>
                </a:gridCol>
                <a:gridCol w="1684426">
                  <a:extLst>
                    <a:ext uri="{9D8B030D-6E8A-4147-A177-3AD203B41FA5}"/>
                  </a:extLst>
                </a:gridCol>
                <a:gridCol w="1201733">
                  <a:extLst>
                    <a:ext uri="{9D8B030D-6E8A-4147-A177-3AD203B41FA5}"/>
                  </a:extLst>
                </a:gridCol>
                <a:gridCol w="1880006">
                  <a:extLst>
                    <a:ext uri="{9D8B030D-6E8A-4147-A177-3AD203B41FA5}"/>
                  </a:extLst>
                </a:gridCol>
                <a:gridCol w="2028770">
                  <a:extLst>
                    <a:ext uri="{9D8B030D-6E8A-4147-A177-3AD203B41FA5}"/>
                  </a:extLst>
                </a:gridCol>
              </a:tblGrid>
              <a:tr h="549829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</a:p>
                    <a:p>
                      <a:pPr marL="0" indent="0"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г.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</a:p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г.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намика 2020г.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аналогичную дату </a:t>
                      </a:r>
                    </a:p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г.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8801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начала года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 </a:t>
                      </a:r>
                      <a:r>
                        <a:rPr lang="ru-RU" sz="2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недели</a:t>
                      </a:r>
                      <a:endParaRPr lang="ru-RU" sz="20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9E7">
                        <a:alpha val="49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558225">
                <a:tc>
                  <a:txBody>
                    <a:bodyPr/>
                    <a:lstStyle/>
                    <a:p>
                      <a:pPr marL="187325" indent="0" algn="l" defTabSz="1279980" rtl="0" eaLnBrk="1" fontAlgn="b" latinLnBrk="0" hangingPunct="1"/>
                      <a:r>
                        <a:rPr lang="ru-RU" sz="1800" b="0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дготовка почвы под лесные      культуры, га</a:t>
                      </a:r>
                      <a:endParaRPr lang="ru-RU" sz="1800" b="0" kern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8,4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6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11,7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1,7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04,5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739819">
                <a:tc>
                  <a:txBody>
                    <a:bodyPr/>
                    <a:lstStyle/>
                    <a:p>
                      <a:pPr marL="187325" indent="0" algn="l" fontAlgn="b"/>
                      <a:r>
                        <a:rPr lang="ru-RU" sz="1800" b="0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действие естественному лесовосстановлению, га</a:t>
                      </a:r>
                      <a:endParaRPr lang="ru-RU" sz="1800" b="0" kern="12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65,9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9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72,9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8,09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6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832685">
                <a:tc>
                  <a:txBody>
                    <a:bodyPr/>
                    <a:lstStyle/>
                    <a:p>
                      <a:pPr marL="187325" indent="0" algn="l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тественное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8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овосстановление</a:t>
                      </a:r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следствие природных процессов, г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60,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00</a:t>
                      </a:r>
                    </a:p>
                    <a:p>
                      <a:pPr algn="ctr" fontAlgn="b"/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00,0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9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673179">
                <a:tc>
                  <a:txBody>
                    <a:bodyPr/>
                    <a:lstStyle/>
                    <a:p>
                      <a:pPr marL="187325" indent="0" algn="l" fontAlgn="b"/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кусственное </a:t>
                      </a:r>
                      <a:r>
                        <a:rPr lang="ru-RU" sz="18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совосстановление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г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40,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6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28,5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6,09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79980" rtl="0" eaLnBrk="1" fontAlgn="b" latinLnBrk="0" hangingPunct="1"/>
                      <a:r>
                        <a:rPr lang="ru-RU" sz="1800" u="none" strike="noStrike" kern="120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40,2</a:t>
                      </a:r>
                      <a:endParaRPr lang="ru-RU" sz="18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24626" name="Диаграмма 8"/>
          <p:cNvGraphicFramePr>
            <a:graphicFrameLocks/>
          </p:cNvGraphicFramePr>
          <p:nvPr/>
        </p:nvGraphicFramePr>
        <p:xfrm>
          <a:off x="322263" y="6981825"/>
          <a:ext cx="4919662" cy="2670175"/>
        </p:xfrm>
        <a:graphic>
          <a:graphicData uri="http://schemas.openxmlformats.org/presentationml/2006/ole">
            <p:oleObj spid="_x0000_s195604" name="Диаграмма" r:id="rId3" imgW="4925995" imgH="2676376" progId="Excel.Sheet.8">
              <p:embed/>
            </p:oleObj>
          </a:graphicData>
        </a:graphic>
      </p:graphicFrame>
      <p:graphicFrame>
        <p:nvGraphicFramePr>
          <p:cNvPr id="24627" name="Диаграмма 9"/>
          <p:cNvGraphicFramePr>
            <a:graphicFrameLocks/>
          </p:cNvGraphicFramePr>
          <p:nvPr/>
        </p:nvGraphicFramePr>
        <p:xfrm>
          <a:off x="5794375" y="6240463"/>
          <a:ext cx="6907213" cy="3355975"/>
        </p:xfrm>
        <a:graphic>
          <a:graphicData uri="http://schemas.openxmlformats.org/presentationml/2006/ole">
            <p:oleObj spid="_x0000_s195605" name="Диаграмма" r:id="rId4" imgW="6913463" imgH="3365284" progId="Excel.Sheet.8">
              <p:embed/>
            </p:oleObj>
          </a:graphicData>
        </a:graphic>
      </p:graphicFrame>
      <p:sp>
        <p:nvSpPr>
          <p:cNvPr id="24628" name="TextBox 4"/>
          <p:cNvSpPr txBox="1">
            <a:spLocks noChangeArrowheads="1"/>
          </p:cNvSpPr>
          <p:nvPr/>
        </p:nvSpPr>
        <p:spPr bwMode="auto">
          <a:xfrm>
            <a:off x="6656388" y="5886450"/>
            <a:ext cx="5822950" cy="3857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513" tIns="53757" rIns="107513" bIns="53757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Arial" pitchFamily="34" charset="0"/>
              <a:buNone/>
            </a:pPr>
            <a:r>
              <a:rPr lang="ru-RU" altLang="ru-RU" b="1" smtClean="0">
                <a:solidFill>
                  <a:srgbClr val="000000"/>
                </a:solidFill>
                <a:cs typeface="Times New Roman" pitchFamily="18" charset="0"/>
              </a:rPr>
              <a:t>Искусственное лесовосстановление, га</a:t>
            </a:r>
            <a:endParaRPr lang="ru-RU" altLang="ru-RU" smtClean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24629" name="TextBox 4"/>
          <p:cNvSpPr txBox="1">
            <a:spLocks noChangeArrowheads="1"/>
          </p:cNvSpPr>
          <p:nvPr/>
        </p:nvSpPr>
        <p:spPr bwMode="auto">
          <a:xfrm>
            <a:off x="223838" y="5908675"/>
            <a:ext cx="5822950" cy="3857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7513" tIns="53757" rIns="107513" bIns="53757">
            <a:spAutoFit/>
          </a:bodyPr>
          <a:lstStyle>
            <a:lvl1pPr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0747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074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Arial" pitchFamily="34" charset="0"/>
              <a:buNone/>
            </a:pPr>
            <a:r>
              <a:rPr lang="ru-RU" altLang="ru-RU" b="1" smtClean="0">
                <a:solidFill>
                  <a:srgbClr val="000000"/>
                </a:solidFill>
                <a:cs typeface="Times New Roman" pitchFamily="18" charset="0"/>
              </a:rPr>
              <a:t>Естественное лесовосстановление , га</a:t>
            </a:r>
            <a:endParaRPr lang="ru-RU" altLang="ru-RU" smtClean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3669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Номер слайда 7"/>
          <p:cNvSpPr>
            <a:spLocks noGrp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2830BC16-6FE6-4F3B-8ECD-9807C95DCF15}" type="slidenum">
              <a:rPr lang="ru-RU" altLang="en-US">
                <a:solidFill>
                  <a:srgbClr val="898989"/>
                </a:solidFill>
              </a:rPr>
              <a:pPr/>
              <a:t>7</a:t>
            </a:fld>
            <a:endParaRPr lang="ru-RU" altLang="en-US">
              <a:solidFill>
                <a:srgbClr val="898989"/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25553023"/>
              </p:ext>
            </p:extLst>
          </p:nvPr>
        </p:nvGraphicFramePr>
        <p:xfrm>
          <a:off x="346899" y="2992583"/>
          <a:ext cx="12181572" cy="2470300"/>
        </p:xfrm>
        <a:graphic>
          <a:graphicData uri="http://schemas.openxmlformats.org/drawingml/2006/table">
            <a:tbl>
              <a:tblPr/>
              <a:tblGrid>
                <a:gridCol w="742440">
                  <a:extLst>
                    <a:ext uri="{9D8B030D-6E8A-4147-A177-3AD203B41FA5}"/>
                  </a:extLst>
                </a:gridCol>
                <a:gridCol w="795013">
                  <a:extLst>
                    <a:ext uri="{9D8B030D-6E8A-4147-A177-3AD203B41FA5}"/>
                  </a:extLst>
                </a:gridCol>
                <a:gridCol w="843345">
                  <a:extLst>
                    <a:ext uri="{9D8B030D-6E8A-4147-A177-3AD203B41FA5}"/>
                  </a:extLst>
                </a:gridCol>
                <a:gridCol w="730410">
                  <a:extLst>
                    <a:ext uri="{9D8B030D-6E8A-4147-A177-3AD203B41FA5}"/>
                  </a:extLst>
                </a:gridCol>
                <a:gridCol w="846067">
                  <a:extLst>
                    <a:ext uri="{9D8B030D-6E8A-4147-A177-3AD203B41FA5}"/>
                  </a:extLst>
                </a:gridCol>
                <a:gridCol w="857224">
                  <a:extLst>
                    <a:ext uri="{9D8B030D-6E8A-4147-A177-3AD203B41FA5}"/>
                  </a:extLst>
                </a:gridCol>
                <a:gridCol w="753919">
                  <a:extLst>
                    <a:ext uri="{9D8B030D-6E8A-4147-A177-3AD203B41FA5}"/>
                  </a:extLst>
                </a:gridCol>
                <a:gridCol w="752005">
                  <a:extLst>
                    <a:ext uri="{9D8B030D-6E8A-4147-A177-3AD203B41FA5}"/>
                  </a:extLst>
                </a:gridCol>
                <a:gridCol w="977352">
                  <a:extLst>
                    <a:ext uri="{9D8B030D-6E8A-4147-A177-3AD203B41FA5}"/>
                  </a:extLst>
                </a:gridCol>
                <a:gridCol w="730800">
                  <a:extLst>
                    <a:ext uri="{9D8B030D-6E8A-4147-A177-3AD203B41FA5}"/>
                  </a:extLst>
                </a:gridCol>
                <a:gridCol w="628620">
                  <a:extLst>
                    <a:ext uri="{9D8B030D-6E8A-4147-A177-3AD203B41FA5}"/>
                  </a:extLst>
                </a:gridCol>
                <a:gridCol w="766589">
                  <a:extLst>
                    <a:ext uri="{9D8B030D-6E8A-4147-A177-3AD203B41FA5}"/>
                  </a:extLst>
                </a:gridCol>
                <a:gridCol w="880160">
                  <a:extLst>
                    <a:ext uri="{9D8B030D-6E8A-4147-A177-3AD203B41FA5}"/>
                  </a:extLst>
                </a:gridCol>
                <a:gridCol w="823374">
                  <a:extLst>
                    <a:ext uri="{9D8B030D-6E8A-4147-A177-3AD203B41FA5}"/>
                  </a:extLst>
                </a:gridCol>
                <a:gridCol w="1054254">
                  <a:extLst>
                    <a:ext uri="{9D8B030D-6E8A-4147-A177-3AD203B41FA5}"/>
                  </a:extLst>
                </a:gridCol>
              </a:tblGrid>
              <a:tr h="548104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селение, охваченное оказанием услуги, чел.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ъем вывозимого ТКО, м3 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-во единиц техники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-во контейнеров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ичество заключенных договоров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658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н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0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инамика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з</a:t>
                      </a:r>
                      <a:r>
                        <a:rPr lang="ru-RU" sz="12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 3 недели</a:t>
                      </a:r>
                      <a:endParaRPr lang="ru-RU" sz="2500" dirty="0">
                        <a:solidFill>
                          <a:srgbClr val="FF0000"/>
                        </a:solidFill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н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0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инамика</a:t>
                      </a:r>
                      <a:r>
                        <a:rPr lang="ru-RU" sz="12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з</a:t>
                      </a:r>
                      <a:r>
                        <a:rPr lang="ru-RU" sz="12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 3 недели</a:t>
                      </a:r>
                      <a:endParaRPr lang="ru-RU" sz="2500" dirty="0">
                        <a:solidFill>
                          <a:srgbClr val="FF0000"/>
                        </a:solidFill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н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Динамика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 за 3 </a:t>
                      </a: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недели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н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Динамика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 за 3 </a:t>
                      </a: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недели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ан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Динамика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 за 3 </a:t>
                      </a: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недели</a:t>
                      </a:r>
                      <a:endParaRPr lang="ru-RU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7090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9 99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8 580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+ 10 нас. пунктов</a:t>
                      </a:r>
                      <a:endParaRPr lang="ru-RU" sz="1600" b="1" i="0" u="none" strike="noStrike" kern="12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 57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38 972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45 000</a:t>
                      </a:r>
                      <a:endParaRPr lang="ru-RU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106</a:t>
                      </a:r>
                      <a:endParaRPr lang="ru-RU" sz="16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+ 2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98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+3 000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29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34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+ 491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52729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2500" dirty="0"/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6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73 %</a:t>
                      </a:r>
                      <a:endParaRPr lang="ru-RU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100%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609" marR="4609" marT="4609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98203037"/>
              </p:ext>
            </p:extLst>
          </p:nvPr>
        </p:nvGraphicFramePr>
        <p:xfrm>
          <a:off x="334536" y="1436690"/>
          <a:ext cx="12144801" cy="1451653"/>
        </p:xfrm>
        <a:graphic>
          <a:graphicData uri="http://schemas.openxmlformats.org/drawingml/2006/table">
            <a:tbl>
              <a:tblPr/>
              <a:tblGrid>
                <a:gridCol w="1407178">
                  <a:extLst>
                    <a:ext uri="{9D8B030D-6E8A-4147-A177-3AD203B41FA5}"/>
                  </a:extLst>
                </a:gridCol>
                <a:gridCol w="1016000">
                  <a:extLst>
                    <a:ext uri="{9D8B030D-6E8A-4147-A177-3AD203B41FA5}"/>
                  </a:extLst>
                </a:gridCol>
                <a:gridCol w="2002972">
                  <a:extLst>
                    <a:ext uri="{9D8B030D-6E8A-4147-A177-3AD203B41FA5}"/>
                  </a:extLst>
                </a:gridCol>
                <a:gridCol w="2656114">
                  <a:extLst>
                    <a:ext uri="{9D8B030D-6E8A-4147-A177-3AD203B41FA5}"/>
                  </a:extLst>
                </a:gridCol>
                <a:gridCol w="2656114">
                  <a:extLst>
                    <a:ext uri="{9D8B030D-6E8A-4147-A177-3AD203B41FA5}"/>
                  </a:extLst>
                </a:gridCol>
                <a:gridCol w="2406423">
                  <a:extLst>
                    <a:ext uri="{9D8B030D-6E8A-4147-A177-3AD203B41FA5}"/>
                  </a:extLst>
                </a:gridCol>
              </a:tblGrid>
              <a:tr h="6813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его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лностью перешли на новую систему обращения с ТКО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Частично перешли на новую систему обращения с ТКО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перешли на новую систему обращения с ТКО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намика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недел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extLst>
                  <a:ext uri="{0D108BD9-81ED-4DB2-BD59-A6C34878D82A}"/>
                </a:extLst>
              </a:tr>
              <a:tr h="770268"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ниципальные образования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183 населенных пункта)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630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селенных пунктов)</a:t>
                      </a: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>
                        <a:lnSpc>
                          <a:spcPts val="1680"/>
                        </a:lnSpc>
                      </a:pPr>
                      <a:endParaRPr lang="ru-RU" sz="2400" b="0" i="0" u="none" strike="noStrike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279980" rtl="0" eaLnBrk="1" fontAlgn="ctr" latinLnBrk="0" hangingPunct="1">
                        <a:lnSpc>
                          <a:spcPts val="16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+10 населенных</a:t>
                      </a:r>
                      <a:r>
                        <a:rPr lang="ru-RU" sz="2400" b="0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 пунктов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44976204"/>
              </p:ext>
            </p:extLst>
          </p:nvPr>
        </p:nvGraphicFramePr>
        <p:xfrm>
          <a:off x="249238" y="5584008"/>
          <a:ext cx="12230100" cy="3852092"/>
        </p:xfrm>
        <a:graphic>
          <a:graphicData uri="http://schemas.openxmlformats.org/drawingml/2006/table">
            <a:tbl>
              <a:tblPr/>
              <a:tblGrid>
                <a:gridCol w="881062"/>
                <a:gridCol w="5645150"/>
                <a:gridCol w="3457121"/>
                <a:gridCol w="2246767"/>
              </a:tblGrid>
              <a:tr h="595087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ояние исполнения мероприятия, результаты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ственный исполнитель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</a:tr>
              <a:tr h="65169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обретение и доставка </a:t>
                      </a: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033 контейнерных баков</a:t>
                      </a:r>
                    </a:p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ъемом 1,1 м</a:t>
                      </a:r>
                      <a:r>
                        <a:rPr kumimoji="0" lang="ru-RU" sz="14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 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 край поступило 3000 контейнер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инприроды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Забайка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</a:tr>
              <a:tr h="783772"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абота с населением в части повышения платежной дисциплины</a:t>
                      </a:r>
                      <a:endParaRPr kumimoji="0" lang="ru-RU" sz="9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величен процент сбора денежных средств на 10,3% от показателей августа 2020. В сентябре 2020 года 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оцент сбора составил -  58,17 % 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>
                      <a:lvl1pPr defTabSz="1279525">
                        <a:lnSpc>
                          <a:spcPct val="90000"/>
                        </a:lnSpc>
                        <a:spcBef>
                          <a:spcPts val="1400"/>
                        </a:spcBef>
                        <a:buFont typeface="Arial" panose="020B0604020202020204" pitchFamily="34" charset="0"/>
                        <a:defRPr sz="35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639763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9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1279525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919288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2559050" defTabSz="1279525">
                        <a:lnSpc>
                          <a:spcPct val="90000"/>
                        </a:lnSpc>
                        <a:spcBef>
                          <a:spcPts val="700"/>
                        </a:spcBef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30162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34734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9306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4387850" indent="1588" defTabSz="1279525" eaLnBrk="0" fontAlgn="base" hangingPunct="0">
                        <a:lnSpc>
                          <a:spcPct val="90000"/>
                        </a:lnSpc>
                        <a:spcBef>
                          <a:spcPts val="7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1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ООО «ОЛЕРОН+»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</a:tr>
              <a:tr h="649071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бота по взысканию дебиторской задолженности с физических лиц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лено и направлено в суд  348 заявлений на выдачу судебных приказов на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умму 660 000 рублей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ОО «ОЛЕРОН+»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</a:tr>
              <a:tr h="649071"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FD9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бота по взысканию дебиторской задолженности с юридических лиц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авлено 217 претензий о задолженности   на сумму 42,0 млн. рублей, из них в досудебном порядке оплачено 7,8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лн. </a:t>
                      </a:r>
                      <a:r>
                        <a:rPr lang="ru-RU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ОО «ОЛЕРОН+»</a:t>
                      </a:r>
                    </a:p>
                    <a:p>
                      <a:pPr marL="0" marR="0" lvl="0" indent="0" algn="ctr" defTabSz="127952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E5E0"/>
                    </a:solidFill>
                  </a:tcPr>
                </a:tc>
              </a:tr>
            </a:tbl>
          </a:graphicData>
        </a:graphic>
      </p:graphicFrame>
      <p:sp>
        <p:nvSpPr>
          <p:cNvPr id="26754" name="Заголовок 1"/>
          <p:cNvSpPr txBox="1">
            <a:spLocks/>
          </p:cNvSpPr>
          <p:nvPr/>
        </p:nvSpPr>
        <p:spPr bwMode="auto">
          <a:xfrm>
            <a:off x="358775" y="142875"/>
            <a:ext cx="10182225" cy="96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 anchor="ctr"/>
          <a:lstStyle>
            <a:lvl1pPr defTabSz="1074738">
              <a:defRPr sz="3900">
                <a:solidFill>
                  <a:schemeClr val="tx1"/>
                </a:solidFill>
                <a:latin typeface="Arial" charset="0"/>
              </a:defRPr>
            </a:lvl1pPr>
            <a:lvl2pPr defTabSz="1074738">
              <a:defRPr sz="3300">
                <a:solidFill>
                  <a:schemeClr val="tx1"/>
                </a:solidFill>
                <a:latin typeface="Arial" charset="0"/>
              </a:defRPr>
            </a:lvl2pPr>
            <a:lvl3pPr defTabSz="1074738">
              <a:defRPr sz="2800">
                <a:solidFill>
                  <a:schemeClr val="tx1"/>
                </a:solidFill>
                <a:latin typeface="Arial" charset="0"/>
              </a:defRPr>
            </a:lvl3pPr>
            <a:lvl4pPr defTabSz="1074738">
              <a:defRPr sz="2500">
                <a:solidFill>
                  <a:schemeClr val="tx1"/>
                </a:solidFill>
                <a:latin typeface="Arial" charset="0"/>
              </a:defRPr>
            </a:lvl4pPr>
            <a:lvl5pPr defTabSz="1074738">
              <a:defRPr sz="2500">
                <a:solidFill>
                  <a:schemeClr val="tx1"/>
                </a:solidFill>
                <a:latin typeface="Arial" charset="0"/>
              </a:defRPr>
            </a:lvl5pPr>
            <a:lvl6pPr marL="3333750" indent="-315913" defTabSz="1074738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6pPr>
            <a:lvl7pPr marL="3790950" indent="-315913" defTabSz="1074738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7pPr>
            <a:lvl8pPr marL="4248150" indent="-315913" defTabSz="1074738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8pPr>
            <a:lvl9pPr marL="4705350" indent="-315913" defTabSz="1074738" eaLnBrk="0" fontAlgn="base" hangingPunct="0">
              <a:spcAft>
                <a:spcPct val="0"/>
              </a:spcAft>
              <a:buFont typeface="Arial" charset="0"/>
              <a:defRPr sz="25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2400" b="1">
                <a:solidFill>
                  <a:srgbClr val="404040"/>
                </a:solidFill>
                <a:sym typeface="Arial" charset="0"/>
              </a:rPr>
              <a:t>О ВНЕДРЕНИИ НОВОЙ СИСТЕМЫ ОБРАЩЕНИЯ С ТКО </a:t>
            </a:r>
            <a:br>
              <a:rPr lang="ru-RU" altLang="ru-RU" sz="2400" b="1">
                <a:solidFill>
                  <a:srgbClr val="404040"/>
                </a:solidFill>
                <a:sym typeface="Arial" charset="0"/>
              </a:rPr>
            </a:br>
            <a:r>
              <a:rPr lang="ru-RU" altLang="ru-RU" sz="2400" b="1">
                <a:solidFill>
                  <a:srgbClr val="404040"/>
                </a:solidFill>
                <a:sym typeface="Arial" charset="0"/>
              </a:rPr>
              <a:t>НА ТЕРРИТОРИИ ЗАБАЙКАЛЬСКОГО КРАЯ</a:t>
            </a:r>
          </a:p>
        </p:txBody>
      </p:sp>
    </p:spTree>
    <p:extLst>
      <p:ext uri="{BB962C8B-B14F-4D97-AF65-F5344CB8AC3E}">
        <p14:creationId xmlns:p14="http://schemas.microsoft.com/office/powerpoint/2010/main" xmlns="" val="24097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2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6617" name="think-cell Slide" r:id="rId6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5571" fontAlgn="auto">
              <a:defRPr/>
            </a:pPr>
            <a:endParaRPr lang="ru-RU" sz="3200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580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38200" y="2206625"/>
            <a:ext cx="811213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buFont typeface="Arial" pitchFamily="34" charset="0"/>
              <a:buNone/>
            </a:pPr>
            <a:endParaRPr lang="en-GB" altLang="ru-RU" sz="2400" b="1">
              <a:solidFill>
                <a:srgbClr val="000000"/>
              </a:solidFill>
              <a:sym typeface="+mn-lt"/>
            </a:endParaRPr>
          </a:p>
        </p:txBody>
      </p:sp>
      <p:sp>
        <p:nvSpPr>
          <p:cNvPr id="24581" name="Номер слайда 7"/>
          <p:cNvSpPr>
            <a:spLocks noGrp="1"/>
          </p:cNvSpPr>
          <p:nvPr>
            <p:ph type="sldNum" sz="quarter" idx="19"/>
          </p:nvPr>
        </p:nvSpPr>
        <p:spPr bwMode="auto">
          <a:xfrm>
            <a:off x="12141200" y="9205913"/>
            <a:ext cx="660400" cy="39528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en-US" dirty="0" smtClean="0">
                <a:solidFill>
                  <a:srgbClr val="898989"/>
                </a:solidFill>
              </a:rPr>
              <a:t>8</a:t>
            </a:r>
          </a:p>
        </p:txBody>
      </p:sp>
      <p:sp>
        <p:nvSpPr>
          <p:cNvPr id="24582" name="Заголовок 1"/>
          <p:cNvSpPr txBox="1">
            <a:spLocks/>
          </p:cNvSpPr>
          <p:nvPr/>
        </p:nvSpPr>
        <p:spPr bwMode="auto">
          <a:xfrm>
            <a:off x="416873" y="0"/>
            <a:ext cx="10180638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 anchor="ctr"/>
          <a:lstStyle>
            <a:lvl1pPr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200" b="1" dirty="0">
                <a:solidFill>
                  <a:srgbClr val="404040"/>
                </a:solidFill>
              </a:rPr>
              <a:t>Текущее состояние дел по реализации региональных проектов национального проекта «Экология». План/факт. </a:t>
            </a:r>
          </a:p>
          <a:p>
            <a:pPr>
              <a:lnSpc>
                <a:spcPct val="90000"/>
              </a:lnSpc>
            </a:pPr>
            <a:r>
              <a:rPr lang="ru-RU" altLang="ru-RU" sz="2200" b="1" dirty="0">
                <a:solidFill>
                  <a:srgbClr val="404040"/>
                </a:solidFill>
              </a:rPr>
              <a:t>Причины отклонений</a:t>
            </a:r>
          </a:p>
        </p:txBody>
      </p:sp>
      <p:graphicFrame>
        <p:nvGraphicFramePr>
          <p:cNvPr id="11" name="Таблица 10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154751" y="1117333"/>
          <a:ext cx="12420600" cy="8145463"/>
        </p:xfrm>
        <a:graphic>
          <a:graphicData uri="http://schemas.openxmlformats.org/drawingml/2006/table">
            <a:tbl>
              <a:tblPr/>
              <a:tblGrid>
                <a:gridCol w="1470125">
                  <a:extLst>
                    <a:ext uri="{9D8B030D-6E8A-4147-A177-3AD203B41FA5}"/>
                  </a:extLst>
                </a:gridCol>
                <a:gridCol w="2289380">
                  <a:extLst>
                    <a:ext uri="{9D8B030D-6E8A-4147-A177-3AD203B41FA5}"/>
                  </a:extLst>
                </a:gridCol>
                <a:gridCol w="2530090"/>
                <a:gridCol w="3545064">
                  <a:extLst>
                    <a:ext uri="{9D8B030D-6E8A-4147-A177-3AD203B41FA5}"/>
                  </a:extLst>
                </a:gridCol>
                <a:gridCol w="2585941">
                  <a:extLst>
                    <a:ext uri="{9D8B030D-6E8A-4147-A177-3AD203B41FA5}"/>
                  </a:extLst>
                </a:gridCol>
              </a:tblGrid>
              <a:tr h="21990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гиональный проект 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левой показатель на 2020 год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ализация мероприят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имечание / </a:t>
                      </a:r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риски</a:t>
                      </a:r>
                      <a:r>
                        <a:rPr lang="ru-RU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не достижения показателей/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потребность </a:t>
                      </a:r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в доп. финансировании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extLst>
                  <a:ext uri="{0D108BD9-81ED-4DB2-BD59-A6C34878D82A}"/>
                </a:extLst>
              </a:tr>
              <a:tr h="6400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7998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 работ на 2020 год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Факт по состоянию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на 9 октября 2020 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1763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Комплексная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истема обращения с ТКО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ля ТКО, направленных на утилизацию в общем объеме образованных ТКО -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78%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93663" indent="0" algn="l" fontAlgn="b"/>
                      <a:endParaRPr lang="ru-RU" sz="12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л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КО, направленных на обработку в общем объеме образованных ТКО - 21,1%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 Завершение работ по</a:t>
                      </a:r>
                    </a:p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, заключенным в 2019 году;</a:t>
                      </a:r>
                    </a:p>
                    <a:p>
                      <a:pPr algn="l" fontAlgn="ctr"/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 Заключение 2 государственных контрактов на проектирование комплексов по сортировке ТКО в Чернышевском и </a:t>
                      </a:r>
                      <a:r>
                        <a:rPr lang="ru-RU" sz="12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ловяннинско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йонах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должаютс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боты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 3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, заключенным в 2019 году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рговые процедуры по новым объектам не проведены в виду отсутствия финансирования</a:t>
                      </a:r>
                    </a:p>
                    <a:p>
                      <a:pPr algn="l"/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 fontAlgn="b"/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иск не достижения показателей имеется/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Потребность 22 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млн. руб. – КБ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разработк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Д на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ство 2-х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мплексов по сортировке отходов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  <a:p>
                      <a:pPr marL="93663" indent="0" algn="l" fontAlgn="b"/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- Минстрой Забайкальского края</a:t>
                      </a:r>
                      <a:endParaRPr lang="ru-RU" sz="1200" b="0" i="1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31942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Чистый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здух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совокупного объема выбросов за отчетный год -  до 97% </a:t>
                      </a:r>
                    </a:p>
                    <a:p>
                      <a:pPr marL="9366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личество городов с высоким и очень высоким уровнем загрязнения атмосферного воздух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– 1 шт.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Продолжение работы по разработке ПСД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на строительство троллейбусных линий «Троллейбусное депо – КСК» и закрытию котельной по </a:t>
                      </a:r>
                      <a:b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ул.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Верхоленская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с переводом потребителей на централизованное теплоснабжение;</a:t>
                      </a:r>
                    </a:p>
                    <a:p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Разработка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ПСД на закрытие 8 котельных;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- Получение федерального финансирования на СМР.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должаютс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боты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проектированию троллейбусной линии «Троллейбусное депо – КСК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вершены работы по проектированию котельной по ул. </a:t>
                      </a:r>
                      <a:r>
                        <a:rPr lang="ru-RU" sz="12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ерхоленска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рговые процедуры на разработку ПСД по закрытию котельных не проведены в виду отсутствия финансирования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Федеральное финансирование на СМР в размере 860,0 млн. руб. не получено, в виду изъятия средств в резервный фонд Правительства РФ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иск не достижения показателей имеется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57,8 млн. руб. - КБ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ПСД - закрытие 8 котельных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 обеспечение централизованным теплоснабжением строящихся микрорайонов)</a:t>
                      </a:r>
                    </a:p>
                    <a:p>
                      <a:pPr marL="93663" indent="0" algn="l" fontAlgn="b"/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</a:t>
                      </a:r>
                      <a:r>
                        <a:rPr lang="ru-RU" sz="1200" b="0" i="1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Минприроды </a:t>
                      </a:r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байкальского края</a:t>
                      </a:r>
                      <a:endParaRPr lang="ru-RU" sz="1200" b="0" i="1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860,09 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млн. руб. – ФБ</a:t>
                      </a:r>
                      <a:r>
                        <a:rPr lang="ru-RU" sz="1200" b="1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но-монтажные работы по объектам, обеспеченным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Д и обновление подвижного состава МП ТУ)</a:t>
                      </a:r>
                    </a:p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- Минстрой Забайкальского края, Минприроды Забайкальского края</a:t>
                      </a:r>
                      <a:endParaRPr lang="ru-RU" sz="1200" b="0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  <a:tr h="2327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Сохранение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зера Байкал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кращение объемов сбросов загрязненных сточных вод в озеро Байкал и другие водные объекты Байкальской природной территории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не установлен на 2020г.)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величение протяженности сооружений инженерной защиты - 0 км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не установлен на 2020г.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вершение работ по</a:t>
                      </a:r>
                    </a:p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, заключенным в 2019 году;</a:t>
                      </a:r>
                    </a:p>
                    <a:p>
                      <a:pPr algn="l" fontAlgn="ctr"/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ключение 3 государственных контрактов на проектирование комплексов по сортировке ТКО в Чернышевском и </a:t>
                      </a:r>
                      <a:r>
                        <a:rPr lang="ru-RU" sz="12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ловяннинско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йонах.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должаютс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боты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 4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 на разработку ПСД по строительству очистных сооружений, и 1 государственному контракту по разработке ПСД на строительство ГТС, заключенным в 2019 году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государственных  контракта по строительств ГТС расторгнуты по инициативе ГКУ «Служба единого заказчика».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рговые процедуры по новым объектам не проведены в виду отсутствия финансирования.</a:t>
                      </a: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иск не достижения показателей имеется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 р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асторгнуты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контракты на разработку ПСД, назначены судебные заседания/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marR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6 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млн</a:t>
                      </a: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. руб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. – КБ</a:t>
                      </a:r>
                      <a:r>
                        <a:rPr lang="ru-RU" sz="1200" b="1" i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Д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чистные 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marR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Новопавловк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.</a:t>
                      </a:r>
                    </a:p>
                    <a:p>
                      <a:pPr marL="93663" marR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14,00 млн. руб. – КБ</a:t>
                      </a:r>
                      <a:r>
                        <a:rPr lang="ru-RU" sz="12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ПСД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- ГТС в с.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.Чикой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</a:p>
                    <a:p>
                      <a:pPr marL="93663" marR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. Черемхово).</a:t>
                      </a:r>
                    </a:p>
                    <a:p>
                      <a:pPr marL="93663" indent="0" algn="l" fontAlgn="b"/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</a:t>
                      </a:r>
                      <a:r>
                        <a:rPr lang="ru-RU" sz="1200" b="0" i="1" u="sng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Минстрой Забайкальского края</a:t>
                      </a:r>
                      <a:endParaRPr lang="ru-RU" sz="1200" b="0" i="0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57711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p:oleObj spid="_x0000_s197641" name="think-cell Slide" r:id="rId6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/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455571" fontAlgn="auto">
              <a:defRPr/>
            </a:pPr>
            <a:endParaRPr lang="ru-RU" sz="3200" b="1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604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38200" y="2206625"/>
            <a:ext cx="811213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279525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2795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buFont typeface="Arial" pitchFamily="34" charset="0"/>
              <a:buNone/>
            </a:pPr>
            <a:endParaRPr lang="en-GB" altLang="ru-RU" sz="2400" b="1">
              <a:solidFill>
                <a:srgbClr val="000000"/>
              </a:solidFill>
              <a:sym typeface="+mn-lt"/>
            </a:endParaRPr>
          </a:p>
        </p:txBody>
      </p:sp>
      <p:sp>
        <p:nvSpPr>
          <p:cNvPr id="25605" name="Номер слайда 7"/>
          <p:cNvSpPr>
            <a:spLocks noGrp="1"/>
          </p:cNvSpPr>
          <p:nvPr>
            <p:ph type="sldNum" sz="quarter" idx="19"/>
          </p:nvPr>
        </p:nvSpPr>
        <p:spPr bwMode="auto">
          <a:xfrm>
            <a:off x="12141200" y="9205913"/>
            <a:ext cx="660400" cy="39528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56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en-US" smtClean="0">
                <a:solidFill>
                  <a:srgbClr val="898989"/>
                </a:solidFill>
              </a:rPr>
              <a:t>9</a:t>
            </a:r>
          </a:p>
        </p:txBody>
      </p:sp>
      <p:sp>
        <p:nvSpPr>
          <p:cNvPr id="25606" name="Заголовок 1"/>
          <p:cNvSpPr txBox="1">
            <a:spLocks/>
          </p:cNvSpPr>
          <p:nvPr/>
        </p:nvSpPr>
        <p:spPr bwMode="auto">
          <a:xfrm>
            <a:off x="476250" y="111125"/>
            <a:ext cx="10180638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 anchor="ctr"/>
          <a:lstStyle>
            <a:lvl1pPr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12763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1276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2400" b="1">
                <a:solidFill>
                  <a:srgbClr val="404040"/>
                </a:solidFill>
              </a:rPr>
              <a:t>Текущее состояние дел по реализации региональных проектов национального проекта «Экология». План/факт. </a:t>
            </a:r>
          </a:p>
          <a:p>
            <a:pPr>
              <a:lnSpc>
                <a:spcPct val="90000"/>
              </a:lnSpc>
            </a:pPr>
            <a:r>
              <a:rPr lang="ru-RU" altLang="ru-RU" sz="2400" b="1">
                <a:solidFill>
                  <a:srgbClr val="404040"/>
                </a:solidFill>
              </a:rPr>
              <a:t>Причины отклонений</a:t>
            </a:r>
          </a:p>
        </p:txBody>
      </p:sp>
      <p:graphicFrame>
        <p:nvGraphicFramePr>
          <p:cNvPr id="8" name="Таблица 7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258763" y="1630363"/>
          <a:ext cx="12255499" cy="4171950"/>
        </p:xfrm>
        <a:graphic>
          <a:graphicData uri="http://schemas.openxmlformats.org/drawingml/2006/table">
            <a:tbl>
              <a:tblPr/>
              <a:tblGrid>
                <a:gridCol w="1450583">
                  <a:extLst>
                    <a:ext uri="{9D8B030D-6E8A-4147-A177-3AD203B41FA5}"/>
                  </a:extLst>
                </a:gridCol>
                <a:gridCol w="2404093">
                  <a:extLst>
                    <a:ext uri="{9D8B030D-6E8A-4147-A177-3AD203B41FA5}"/>
                  </a:extLst>
                </a:gridCol>
                <a:gridCol w="2714172"/>
                <a:gridCol w="2873828">
                  <a:extLst>
                    <a:ext uri="{9D8B030D-6E8A-4147-A177-3AD203B41FA5}"/>
                  </a:extLst>
                </a:gridCol>
                <a:gridCol w="2812823">
                  <a:extLst>
                    <a:ext uri="{9D8B030D-6E8A-4147-A177-3AD203B41FA5}"/>
                  </a:extLst>
                </a:gridCol>
              </a:tblGrid>
              <a:tr h="31024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гиональный проект 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Целевой показатель на 2020 год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Реализация мероприяти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Примечание / </a:t>
                      </a:r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риски</a:t>
                      </a:r>
                      <a:r>
                        <a:rPr lang="ru-RU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не достижения показателей/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потребность </a:t>
                      </a:r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+mj-lt"/>
                        </a:rPr>
                        <a:t>в доп. финансировании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extLst>
                  <a:ext uri="{0D108BD9-81ED-4DB2-BD59-A6C34878D82A}"/>
                </a:extLst>
              </a:tr>
              <a:tr h="5497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1279980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 работ на 2020 год</a:t>
                      </a:r>
                      <a:endParaRPr lang="ru-RU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Факт по состоянию на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 октября 2020 год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33119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Чистая </a:t>
                      </a:r>
                    </a:p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ана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marL="93663" indent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иквидация выявленных на 1 января 2018 г. несанкционированных свалок в границах городов - 0 ед.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не установлен на 2020г.)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ая площадь восстановленных, в том числе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культивированных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емель подверженных негативному воздействию накопленного вреда окружающей среде - 0 га 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не установлен на 2020г.)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вершение работ по</a:t>
                      </a:r>
                    </a:p>
                    <a:p>
                      <a:pPr algn="l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, заключенным в 2019 году;</a:t>
                      </a:r>
                    </a:p>
                    <a:p>
                      <a:pPr algn="l" fontAlgn="ctr"/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ключение 2 государственных контрактов на проектирование работ по консервации </a:t>
                      </a:r>
                      <a:r>
                        <a:rPr lang="ru-RU" sz="12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хвостохранилищ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Хапчеранга и Абагайтуй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должаются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боты 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 3 государственным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контрактам, заключенным в 2019 году;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орговые процедуры по новым объектам не проведены в виду отсутствия финансирования.</a:t>
                      </a: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127998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иск не достижения показателей имеется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0 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млн. руб. – КБ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разработка ПСД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консервация объектов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шлого экологического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щерба – хвостохранилища рудников Абагайтуй и Хапчеранга)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r>
                        <a:rPr lang="ru-RU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6,4 </a:t>
                      </a:r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млн. руб. – КБ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с.контракт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19 год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– разработка ПСД по консервации хвостохранилища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лагодатско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фабрики). Предложено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рераспределить средства с РП «Чистый воздух»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- Минприроды Забайкальского края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61938" y="5843588"/>
          <a:ext cx="12255499" cy="2767012"/>
        </p:xfrm>
        <a:graphic>
          <a:graphicData uri="http://schemas.openxmlformats.org/drawingml/2006/table">
            <a:tbl>
              <a:tblPr/>
              <a:tblGrid>
                <a:gridCol w="1450583"/>
                <a:gridCol w="2404093"/>
                <a:gridCol w="2735428"/>
                <a:gridCol w="2852572"/>
                <a:gridCol w="2812823"/>
              </a:tblGrid>
              <a:tr h="27670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Сохранение лес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3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lvl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ношение площади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есовосстановления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и лесоразведения к площади вырубленных и погибших лесных насаждений - 41,5%</a:t>
                      </a:r>
                    </a:p>
                    <a:p>
                      <a:pPr marL="93663" indent="0"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Увеличение площади 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совосстановления</a:t>
                      </a:r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Оснащение специализированной лесохозяйственной техникой и оборудованием</a:t>
                      </a:r>
                    </a:p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Формирование запаса лесных семян для 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совосстановления</a:t>
                      </a:r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endParaRPr lang="ru-RU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1279980" rtl="0" eaLnBrk="1" fontAlgn="ctr" latinLnBrk="0" hangingPunct="1"/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Оснащение </a:t>
                      </a:r>
                      <a:r>
                        <a:rPr lang="ru-RU" sz="12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сопожарной</a:t>
                      </a: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техникой и оборудованием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редства освоены на 97,2%.</a:t>
                      </a: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Выполнено 85,3%.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Выполнено 100%.</a:t>
                      </a: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Выполнено 100%.</a:t>
                      </a: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7998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Выполнено 100%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  <a:tc>
                  <a:txBody>
                    <a:bodyPr/>
                    <a:lstStyle/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иск не достижения показателя отсутствует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endParaRPr lang="ru-RU" sz="12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  <a:p>
                      <a:pPr marL="93663" marR="0" lvl="0" indent="0" algn="l" defTabSz="128004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noProof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5,7 </a:t>
                      </a:r>
                      <a:r>
                        <a:rPr lang="ru-RU" sz="1200" b="1" i="0" u="none" strike="noStrike" kern="1200" noProof="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лн.руб</a:t>
                      </a:r>
                      <a:r>
                        <a:rPr lang="ru-RU" sz="1200" b="1" i="0" u="none" strike="noStrike" kern="1200" noProof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– ФБ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имеется потребность в средствах на осуществление мероприятий по 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лесовосстановлению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</a:p>
                    <a:p>
                      <a:pPr marL="93663" indent="0" algn="l" fontAlgn="b"/>
                      <a:endParaRPr lang="ru-RU" sz="1200" b="1" i="0" u="none" strike="noStrike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  <a:p>
                      <a:pPr marL="93663" indent="0" algn="l" fontAlgn="b"/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93663" marR="0" indent="0" algn="l" defTabSz="127998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sng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РБС - Минприроды Забайкальского края</a:t>
                      </a:r>
                    </a:p>
                  </a:txBody>
                  <a:tcPr marL="6550" marR="6550" marT="654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2F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79143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2.16755251504235957327E+00&quot;&gt;&lt;m_msothmcolidx val=&quot;0&quot;/&gt;&lt;m_rgb r=&quot;00&quot; g=&quot;E1&quot; b=&quot;65&quot;/&gt;&lt;m_nBrightness endver=&quot;26206&quot; val=&quot;0&quot;/&gt;&lt;/elem&gt;&lt;elem m_fUsage=&quot;1.91654100000000005011E+00&quot;&gt;&lt;m_msothmcolidx val=&quot;0&quot;/&gt;&lt;m_rgb r=&quot;96&quot; g=&quot;8F&quot; b=&quot;83&quot;/&gt;&lt;m_nBrightness endver=&quot;26206&quot; val=&quot;0&quot;/&gt;&lt;/elem&gt;&lt;elem m_fUsage=&quot;1.40049000000000001265E+00&quot;&gt;&lt;m_msothmcolidx val=&quot;0&quot;/&gt;&lt;m_rgb r=&quot;62&quot; g=&quot;BA&quot; b=&quot;DA&quot;/&gt;&lt;m_nBrightness endver=&quot;26206&quot; val=&quot;0&quot;/&gt;&lt;/elem&gt;&lt;elem m_fUsage=&quot;1.11854443874883857646E+00&quot;&gt;&lt;m_msothmcolidx val=&quot;0&quot;/&gt;&lt;m_rgb r=&quot;FF&quot; g=&quot;00&quot; b=&quot;00&quot;/&gt;&lt;m_nBrightness endver=&quot;26206&quot; val=&quot;0&quot;/&gt;&lt;/elem&gt;&lt;elem m_fUsage=&quot;8.29068153685148412357E-01&quot;&gt;&lt;m_msothmcolidx val=&quot;0&quot;/&gt;&lt;m_rgb r=&quot;00&quot; g=&quot;70&quot; b=&quot;C0&quot;/&gt;&lt;m_nBrightness endver=&quot;26206&quot; val=&quot;0&quot;/&gt;&lt;/elem&gt;&lt;elem m_fUsage=&quot;4.78296900000000135833E-01&quot;&gt;&lt;m_msothmcolidx val=&quot;0&quot;/&gt;&lt;m_rgb r=&quot;79&quot; g=&quot;A8&quot; b=&quot;B8&quot;/&gt;&lt;m_nBrightness endver=&quot;26206&quot; val=&quot;0&quot;/&gt;&lt;/elem&gt;&lt;elem m_fUsage=&quot;4.76102310860743671572E-01&quot;&gt;&lt;m_msothmcolidx val=&quot;0&quot;/&gt;&lt;m_rgb r=&quot;00&quot; g=&quot;B0&quot; b=&quot;50&quot;/&gt;&lt;m_nBrightness endver=&quot;26206&quot; val=&quot;0&quot;/&gt;&lt;/elem&gt;&lt;elem m_fUsage=&quot;4.30467210000000155556E-01&quot;&gt;&lt;m_msothmcolidx val=&quot;0&quot;/&gt;&lt;m_rgb r=&quot;E9&quot; g=&quot;84&quot; b=&quot;84&quot;/&gt;&lt;m_nBrightness endver=&quot;26206&quot; val=&quot;0&quot;/&gt;&lt;/elem&gt;&lt;elem m_fUsage=&quot;3.87420489000000145552E-01&quot;&gt;&lt;m_msothmcolidx val=&quot;0&quot;/&gt;&lt;m_rgb r=&quot;E2&quot; g=&quot;E2&quot; b=&quot;62&quot;/&gt;&lt;m_nBrightness endver=&quot;26206&quot; val=&quot;0&quot;/&gt;&lt;/elem&gt;&lt;elem m_fUsage=&quot;3.48678440100000153201E-01&quot;&gt;&lt;m_msothmcolidx val=&quot;0&quot;/&gt;&lt;m_rgb r=&quot;64&quot; g=&quot;BC&quot; b=&quot;DC&quot;/&gt;&lt;m_nBrightness endver=&quot;26206&quot; val=&quot;0&quot;/&gt;&lt;/elem&gt;&lt;elem m_fUsage=&quot;3.13810596090000171188E-01&quot;&gt;&lt;m_msothmcolidx val=&quot;0&quot;/&gt;&lt;m_rgb r=&quot;E7&quot; g=&quot;67&quot; b=&quot;67&quot;/&gt;&lt;m_nBrightness endver=&quot;26206&quot; val=&quot;0&quot;/&gt;&lt;/elem&gt;&lt;elem m_fUsage=&quot;4.63338426914050582894E-02&quot;&gt;&lt;m_msothmcolidx val=&quot;0&quot;/&gt;&lt;m_rgb r=&quot;FE&quot; g=&quot;37&quot; b=&quot;37&quot;/&gt;&lt;m_nBrightness endver=&quot;26206&quot; val=&quot;0&quot;/&gt;&lt;/elem&gt;&lt;elem m_fUsage=&quot;3.33418735081002295950E-02&quot;&gt;&lt;m_msothmcolidx val=&quot;0&quot;/&gt;&lt;m_rgb r=&quot;0C&quot; g=&quot;C2&quot; b=&quot;79&quot;/&gt;&lt;m_nBrightness endver=&quot;26206&quot; val=&quot;0&quot;/&gt;&lt;/elem&gt;&lt;elem m_fUsage=&quot;8.72796356808772273717E-03&quot;&gt;&lt;m_msothmcolidx val=&quot;0&quot;/&gt;&lt;m_rgb r=&quot;CC&quot; g=&quot;FF&quot; b=&quot;CC&quot;/&gt;&lt;m_nBrightness endver=&quot;26206&quot; val=&quot;0&quot;/&gt;&lt;/elem&gt;&lt;elem m_fUsage=&quot;8.39549981272447350122E-03&quot;&gt;&lt;m_msothmcolidx val=&quot;0&quot;/&gt;&lt;m_rgb r=&quot;FF&quot; g=&quot;AE&quot; b=&quot;AE&quot;/&gt;&lt;m_nBrightness endver=&quot;26206&quot; val=&quot;0&quot;/&gt;&lt;/elem&gt;&lt;elem m_fUsage=&quot;8.28662369936390696967E-03&quot;&gt;&lt;m_msothmcolidx val=&quot;0&quot;/&gt;&lt;m_rgb r=&quot;91&quot; g=&quot;13&quot; b=&quot;60&quot;/&gt;&lt;m_nBrightness endver=&quot;26206&quot; val=&quot;0&quot;/&gt;&lt;/elem&gt;&lt;elem m_fUsage=&quot;8.19702792949057561234E-03&quot;&gt;&lt;m_msothmcolidx val=&quot;0&quot;/&gt;&lt;m_rgb r=&quot;62&quot; g=&quot;A2&quot; b=&quot;97&quot;/&gt;&lt;m_nBrightness endver=&quot;26206&quot; val=&quot;0&quot;/&gt;&lt;/elem&gt;&lt;elem m_fUsage=&quot;5.64993024012907813641E-03&quot;&gt;&lt;m_msothmcolidx val=&quot;0&quot;/&gt;&lt;m_rgb r=&quot;0D&quot; g=&quot;62&quot; b=&quot;00&quot;/&gt;&lt;m_nBrightness endver=&quot;26206&quot; val=&quot;0&quot;/&gt;&lt;/elem&gt;&lt;elem m_fUsage=&quot;3.38139191352273020194E-03&quot;&gt;&lt;m_msothmcolidx val=&quot;0&quot;/&gt;&lt;m_rgb r=&quot;B6&quot; g=&quot;01&quot; b=&quot;01&quot;/&gt;&lt;m_nBrightness endver=&quot;26206&quot; val=&quot;0&quot;/&gt;&lt;/elem&gt;&lt;elem m_fUsage=&quot;3.12115859248204971163E-03&quot;&gt;&lt;m_msothmcolidx val=&quot;0&quot;/&gt;&lt;m_rgb r=&quot;34&quot; g=&quot;34&quot; b=&quot;34&quot;/&gt;&lt;m_nBrightness endver=&quot;26206&quot; val=&quot;0&quot;/&gt;&lt;/elem&gt;&lt;elem m_fUsage=&quot;2.46503470495807071317E-03&quot;&gt;&lt;m_msothmcolidx val=&quot;0&quot;/&gt;&lt;m_rgb r=&quot;FF&quot; g=&quot;BC&quot; b=&quot;BC&quot;/&gt;&lt;m_nBrightness endver=&quot;26206&quot; val=&quot;0&quot;/&gt;&lt;/elem&gt;&lt;elem m_fUsage=&quot;1.57758905449212729136E-03&quot;&gt;&lt;m_msothmcolidx val=&quot;0&quot;/&gt;&lt;m_rgb r=&quot;A5&quot; g=&quot;A5&quot; b=&quot;AA&quot;/&gt;&lt;m_nBrightness endver=&quot;26206&quot; val=&quot;0&quot;/&gt;&lt;/elem&gt;&lt;elem m_fUsage=&quot;1.32570474906675505287E-03&quot;&gt;&lt;m_msothmcolidx val=&quot;0&quot;/&gt;&lt;m_rgb r=&quot;92&quot; g=&quot;18&quot; b=&quot;4F&quot;/&gt;&lt;m_nBrightness endver=&quot;26206&quot; val=&quot;0&quot;/&gt;&lt;/elem&gt;&lt;elem m_fUsage=&quot;7.73554010145429500264E-04&quot;&gt;&lt;m_msothmcolidx val=&quot;0&quot;/&gt;&lt;m_rgb r=&quot;FF&quot; g=&quot;99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yBg1mROa8l0mvkXYa1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RKof26lIgh6xdFCLedc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RKof26lIgh6xdFCLed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053</TotalTime>
  <Words>1867</Words>
  <Application>Microsoft Office PowerPoint</Application>
  <PresentationFormat>A3 (297x420 мм)</PresentationFormat>
  <Paragraphs>433</Paragraphs>
  <Slides>9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Office Theme</vt:lpstr>
      <vt:lpstr>1_Office Theme</vt:lpstr>
      <vt:lpstr>2_Office Theme</vt:lpstr>
      <vt:lpstr>6_Office Theme</vt:lpstr>
      <vt:lpstr>think-cell Slide</vt:lpstr>
      <vt:lpstr>Диаграмма</vt:lpstr>
      <vt:lpstr>Лист Microsoft Office Excel 97-2003</vt:lpstr>
      <vt:lpstr>ДОКЛАД   ЗАМЕСТИТЕЛЯ ПРЕДСЕДАТЕЛЯ ПРАВИТЕЛЬСТВА ЗАБАЙКАЛЬСКОГО КРАЯ  А.В.ГУРУЛЁВА</vt:lpstr>
      <vt:lpstr>ЗАДАЧИ МИНИСТЕРСТВА ПРИРОДНЫХ РЕСУРСОВ  ЗА ПРОШЕДШУЮ НЕДЕЛЮ</vt:lpstr>
      <vt:lpstr>ОСНОВНЫЕ НАПРАВЛЕНИЯ ДЕЯТЕЛЬНОСТИ  РЕЗУЛЬТАТЫ РАБОТЫ С 21 СЕНТЯБРЯ ПО 12 ОКТЯБРЯ 2020 ГОДА</vt:lpstr>
      <vt:lpstr>ПОЖАРООПАСНЫЙ СЕЗОН 2020 ГОДА</vt:lpstr>
      <vt:lpstr>ВЫЯВЛЕНИЕ ЛИЦ, ВИНОВНЫХ В ВОЗНИКНОВЕНИИ ПРИРОДНЫХ ПОЖАРОВ В ЗАБАЙКАЛЬСКОМ КРАЕ </vt:lpstr>
      <vt:lpstr>ЛЕСОВОССТАНОВЛЕНИЕ</vt:lpstr>
      <vt:lpstr>Слайд 7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НЕГАТИВНЫХ ТРЕНДАХ В БЮДЖЕТНОЙ ОБЕСПЕЧЕННОСТИ ЗАБАЙКАЛЬСКОГО КРАЯ</dc:title>
  <dc:creator>Il Ak</dc:creator>
  <cp:lastModifiedBy>KupriyanovaNA</cp:lastModifiedBy>
  <cp:revision>1583</cp:revision>
  <cp:lastPrinted>2020-07-27T00:39:11Z</cp:lastPrinted>
  <dcterms:created xsi:type="dcterms:W3CDTF">2019-03-30T07:42:18Z</dcterms:created>
  <dcterms:modified xsi:type="dcterms:W3CDTF">2020-10-12T00:01:09Z</dcterms:modified>
</cp:coreProperties>
</file>